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0.xml" ContentType="application/vnd.openxmlformats-officedocument.presentationml.tags+xml"/>
  <Override PartName="/ppt/notesSlides/notesSlide1.xml" ContentType="application/vnd.openxmlformats-officedocument.presentationml.notesSlide+xml"/>
  <Override PartName="/ppt/tags/tag61.xml" ContentType="application/vnd.openxmlformats-officedocument.presentationml.tags+xml"/>
  <Override PartName="/ppt/notesSlides/notesSlide2.xml" ContentType="application/vnd.openxmlformats-officedocument.presentationml.notesSlide+xml"/>
  <Override PartName="/ppt/tags/tag62.xml" ContentType="application/vnd.openxmlformats-officedocument.presentationml.tags+xml"/>
  <Override PartName="/ppt/notesSlides/notesSlide3.xml" ContentType="application/vnd.openxmlformats-officedocument.presentationml.notesSlide+xml"/>
  <Override PartName="/ppt/tags/tag63.xml" ContentType="application/vnd.openxmlformats-officedocument.presentationml.tags+xml"/>
  <Override PartName="/ppt/notesSlides/notesSlide4.xml" ContentType="application/vnd.openxmlformats-officedocument.presentationml.notesSlide+xml"/>
  <Override PartName="/ppt/tags/tag64.xml" ContentType="application/vnd.openxmlformats-officedocument.presentationml.tags+xml"/>
  <Override PartName="/ppt/notesSlides/notesSlide5.xml" ContentType="application/vnd.openxmlformats-officedocument.presentationml.notesSlide+xml"/>
  <Override PartName="/ppt/tags/tag65.xml" ContentType="application/vnd.openxmlformats-officedocument.presentationml.tags+xml"/>
  <Override PartName="/ppt/notesSlides/notesSlide6.xml" ContentType="application/vnd.openxmlformats-officedocument.presentationml.notesSlide+xml"/>
  <Override PartName="/ppt/tags/tag66.xml" ContentType="application/vnd.openxmlformats-officedocument.presentationml.tags+xml"/>
  <Override PartName="/ppt/notesSlides/notesSlide7.xml" ContentType="application/vnd.openxmlformats-officedocument.presentationml.notesSlide+xml"/>
  <Override PartName="/ppt/tags/tag67.xml" ContentType="application/vnd.openxmlformats-officedocument.presentationml.tags+xml"/>
  <Override PartName="/ppt/notesSlides/notesSlide8.xml" ContentType="application/vnd.openxmlformats-officedocument.presentationml.notesSlide+xml"/>
  <Override PartName="/ppt/tags/tag68.xml" ContentType="application/vnd.openxmlformats-officedocument.presentationml.tags+xml"/>
  <Override PartName="/ppt/notesSlides/notesSlide9.xml" ContentType="application/vnd.openxmlformats-officedocument.presentationml.notesSlide+xml"/>
  <Override PartName="/ppt/tags/tag69.xml" ContentType="application/vnd.openxmlformats-officedocument.presentationml.tags+xml"/>
  <Override PartName="/ppt/notesSlides/notesSlide10.xml" ContentType="application/vnd.openxmlformats-officedocument.presentationml.notesSlide+xml"/>
  <Override PartName="/ppt/tags/tag70.xml" ContentType="application/vnd.openxmlformats-officedocument.presentationml.tags+xml"/>
  <Override PartName="/ppt/notesSlides/notesSlide11.xml" ContentType="application/vnd.openxmlformats-officedocument.presentationml.notesSlide+xml"/>
  <Override PartName="/ppt/tags/tag71.xml" ContentType="application/vnd.openxmlformats-officedocument.presentationml.tags+xml"/>
  <Override PartName="/ppt/notesSlides/notesSlide12.xml" ContentType="application/vnd.openxmlformats-officedocument.presentationml.notesSlide+xml"/>
  <Override PartName="/ppt/tags/tag72.xml" ContentType="application/vnd.openxmlformats-officedocument.presentationml.tags+xml"/>
  <Override PartName="/ppt/notesSlides/notesSlide13.xml" ContentType="application/vnd.openxmlformats-officedocument.presentationml.notesSlide+xml"/>
  <Override PartName="/ppt/tags/tag73.xml" ContentType="application/vnd.openxmlformats-officedocument.presentationml.tags+xml"/>
  <Override PartName="/ppt/notesSlides/notesSlide14.xml" ContentType="application/vnd.openxmlformats-officedocument.presentationml.notesSlide+xml"/>
  <Override PartName="/ppt/tags/tag74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09" r:id="rId1"/>
    <p:sldMasterId id="2147484004" r:id="rId2"/>
  </p:sldMasterIdLst>
  <p:notesMasterIdLst>
    <p:notesMasterId r:id="rId18"/>
  </p:notesMasterIdLst>
  <p:handoutMasterIdLst>
    <p:handoutMasterId r:id="rId19"/>
  </p:handoutMasterIdLst>
  <p:sldIdLst>
    <p:sldId id="256" r:id="rId3"/>
    <p:sldId id="313" r:id="rId4"/>
    <p:sldId id="316" r:id="rId5"/>
    <p:sldId id="321" r:id="rId6"/>
    <p:sldId id="346" r:id="rId7"/>
    <p:sldId id="340" r:id="rId8"/>
    <p:sldId id="341" r:id="rId9"/>
    <p:sldId id="344" r:id="rId10"/>
    <p:sldId id="319" r:id="rId11"/>
    <p:sldId id="334" r:id="rId12"/>
    <p:sldId id="335" r:id="rId13"/>
    <p:sldId id="345" r:id="rId14"/>
    <p:sldId id="336" r:id="rId15"/>
    <p:sldId id="337" r:id="rId16"/>
    <p:sldId id="338" r:id="rId17"/>
  </p:sldIdLst>
  <p:sldSz cx="10080625" cy="7561263"/>
  <p:notesSz cx="6858000" cy="9144000"/>
  <p:custDataLst>
    <p:tags r:id="rId20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8" orient="horz" pos="2382" userDrawn="1">
          <p15:clr>
            <a:srgbClr val="A4A3A4"/>
          </p15:clr>
        </p15:guide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5" orient="horz" pos="1021">
          <p15:clr>
            <a:srgbClr val="A4A3A4"/>
          </p15:clr>
        </p15:guide>
        <p15:guide id="26" orient="horz" pos="3844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105">
          <p15:clr>
            <a:srgbClr val="A4A3A4"/>
          </p15:clr>
        </p15:guide>
        <p15:guide id="29" orient="horz" pos="4365" userDrawn="1">
          <p15:clr>
            <a:srgbClr val="A4A3A4"/>
          </p15:clr>
        </p15:guide>
        <p15:guide id="30" orient="horz" pos="4536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220" userDrawn="1">
          <p15:clr>
            <a:srgbClr val="A4A3A4"/>
          </p15:clr>
        </p15:guide>
        <p15:guide id="38" pos="313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1" name="Autor" initials="A" lastIdx="0" clrIdx="1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FF"/>
    <a:srgbClr val="992C99"/>
    <a:srgbClr val="0099CC"/>
    <a:srgbClr val="E20074"/>
    <a:srgbClr val="E20000"/>
    <a:srgbClr val="4B4B4B"/>
    <a:srgbClr val="C4C4C4"/>
    <a:srgbClr val="66FF66"/>
    <a:srgbClr val="E1E1E1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048" autoAdjust="0"/>
    <p:restoredTop sz="83481" autoAdjust="0"/>
  </p:normalViewPr>
  <p:slideViewPr>
    <p:cSldViewPr snapToGrid="0" snapToObjects="1">
      <p:cViewPr>
        <p:scale>
          <a:sx n="100" d="100"/>
          <a:sy n="100" d="100"/>
        </p:scale>
        <p:origin x="162" y="1368"/>
      </p:cViewPr>
      <p:guideLst>
        <p:guide orient="horz" pos="2382"/>
        <p:guide orient="horz" pos="226"/>
        <p:guide orient="horz" pos="1021"/>
        <p:guide orient="horz" pos="3844"/>
        <p:guide orient="horz" pos="749"/>
        <p:guide orient="horz" pos="4105"/>
        <p:guide orient="horz" pos="4365"/>
        <p:guide orient="horz" pos="4536"/>
        <p:guide pos="227"/>
        <p:guide pos="1724"/>
        <p:guide pos="1632"/>
        <p:guide pos="6123"/>
        <p:guide pos="4717"/>
        <p:guide pos="4627"/>
        <p:guide pos="3220"/>
        <p:guide pos="3130"/>
      </p:guideLst>
    </p:cSldViewPr>
  </p:slideViewPr>
  <p:outlineViewPr>
    <p:cViewPr>
      <p:scale>
        <a:sx n="33" d="100"/>
        <a:sy n="33" d="100"/>
      </p:scale>
      <p:origin x="0" y="-44973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>
        <p:scale>
          <a:sx n="50" d="100"/>
          <a:sy n="50" d="100"/>
        </p:scale>
        <p:origin x="-2886" y="-180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Nr.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16025" y="371475"/>
            <a:ext cx="4425950" cy="3319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 smtClean="0"/>
              <a:t>Textmasterformate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8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8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8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8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8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8" name="Folienbildplatzhalter 7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9" name="Notizenplatzhalter 8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Сегодня мы с вами поговорим о том, как, находясь в статичном состоянии, мы нашли надежный, простой и универсальный способ построения динамичной и гибкой структуры команды тестирования, оставив позади стадию хаоса и стадию строгого распределения ролей и компетенций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5799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9200" y="685800"/>
            <a:ext cx="4422775" cy="331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На основе результатов этих двух типологий мы в свое время применили ротацию ролей внутри </a:t>
            </a:r>
            <a:r>
              <a:rPr lang="ru-RU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тестима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, учитывали при этом уровень развития каждого члена команды по отношению к задаче, чтобы вовремя дать указания, наставления или поддержку и в нужный момент предоставить свободу действий.</a:t>
            </a:r>
          </a:p>
          <a:p>
            <a:r>
              <a:rPr lang="de-DE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One</a:t>
            </a:r>
            <a:r>
              <a:rPr lang="de-DE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</a:t>
            </a:r>
            <a:r>
              <a:rPr lang="de-DE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to</a:t>
            </a:r>
            <a:r>
              <a:rPr lang="de-DE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</a:t>
            </a:r>
            <a:r>
              <a:rPr lang="de-DE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One</a:t>
            </a:r>
            <a:r>
              <a:rPr lang="de-DE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</a:t>
            </a:r>
            <a:r>
              <a:rPr lang="de-DE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meetings</a:t>
            </a:r>
            <a:r>
              <a:rPr lang="de-DE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явились также отличным инструментом </a:t>
            </a:r>
            <a:r>
              <a:rPr lang="ru-RU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тимлида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, который позволил вовремя понять ожидание каждого члена команды, составить индивидуальный план достижения целей, повлиять на его развитие и при этом оценить и проконтролировать его эмоциональное состояние.</a:t>
            </a:r>
          </a:p>
          <a:p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Помимо созданных комфортных условий работы внутри компании, в нашем проекте существует возможность работы из дома для выполнения гибких ролей и без необходимости срочной коммуникации с командой.</a:t>
            </a:r>
            <a:endParaRPr lang="ru-RU" sz="800" kern="1200" dirty="0">
              <a:solidFill>
                <a:schemeClr val="tx1"/>
              </a:solidFill>
              <a:effectLst/>
              <a:latin typeface="Tele-GroteskFet" pitchFamily="2" charset="0"/>
              <a:ea typeface="+mn-ea"/>
              <a:cs typeface="+mn-cs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err="1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8800" y="8640000"/>
            <a:ext cx="44820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70583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9200" y="685800"/>
            <a:ext cx="4422775" cy="331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Для профессионального развития каждого </a:t>
            </a:r>
            <a:r>
              <a:rPr lang="ru-RU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тестировщика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мы применили разделение команды по темам, что дало возможность каждому стать экспертом одного из </a:t>
            </a:r>
            <a:r>
              <a:rPr lang="ru-RU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бизнеспроцессов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и повысить общую компетенцию проекта. Для этого выделялся дополнительный ресурс на самообучение и на презентации для команды</a:t>
            </a:r>
          </a:p>
          <a:p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Старались повысить уровень ответственности и осознанности у каждого члена команды, когда предоставляли возможность более опытным сотрудникам руководить версией, либо делегировали выполнение важных и интересных задач. Для поддержания такой позиции принимаем участие в тренингах и делимся затем опытом внутри команды.</a:t>
            </a:r>
            <a:endParaRPr lang="ru-RU" sz="800" kern="1200" dirty="0">
              <a:solidFill>
                <a:schemeClr val="tx1"/>
              </a:solidFill>
              <a:effectLst/>
              <a:latin typeface="Tele-GroteskFet" pitchFamily="2" charset="0"/>
              <a:ea typeface="+mn-ea"/>
              <a:cs typeface="+mn-cs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err="1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8800" y="8640000"/>
            <a:ext cx="44820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70583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9200" y="685800"/>
            <a:ext cx="4422775" cy="331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5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Менеджмент: Отключение «автопилота» - Смена задач, ролей, уход от рутины</a:t>
            </a:r>
          </a:p>
          <a:p>
            <a:r>
              <a:rPr lang="ru-RU" sz="5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Осознанное слушание - По возможности проводить собрания лично, слушать, вникая, не перебивая, давая </a:t>
            </a:r>
            <a:r>
              <a:rPr lang="ru-RU" sz="500" b="0" i="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фидбек</a:t>
            </a:r>
            <a:endParaRPr lang="ru-RU" sz="500" b="0" i="0" kern="1200" dirty="0" smtClean="0">
              <a:solidFill>
                <a:schemeClr val="tx1"/>
              </a:solidFill>
              <a:effectLst/>
              <a:latin typeface="Tele-GroteskFet" pitchFamily="2" charset="0"/>
              <a:ea typeface="+mn-ea"/>
              <a:cs typeface="+mn-cs"/>
            </a:endParaRPr>
          </a:p>
          <a:p>
            <a:r>
              <a:rPr lang="ru-RU" sz="5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Оставлять работу на работе – это не только оставлять мысли о работе на выходных, или больничном, но и уважение к личному времени и пространству коллег.</a:t>
            </a:r>
            <a:endParaRPr lang="de-DE" sz="5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err="1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8800" y="8640000"/>
            <a:ext cx="44820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115554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9200" y="685800"/>
            <a:ext cx="4422775" cy="331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И если каждая техника по отдельности как инструмент может и не привести к динамическим преобразованиям в команде, то их совместное использование способно совершить </a:t>
            </a:r>
            <a:r>
              <a:rPr lang="de-DE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REV</a:t>
            </a:r>
            <a:r>
              <a:rPr lang="ru-RU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олюционные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изменения</a:t>
            </a:r>
            <a:endParaRPr lang="ru-RU" sz="800" kern="1200" dirty="0">
              <a:solidFill>
                <a:schemeClr val="tx1"/>
              </a:solidFill>
              <a:effectLst/>
              <a:latin typeface="Tele-GroteskFet" pitchFamily="2" charset="0"/>
              <a:ea typeface="+mn-ea"/>
              <a:cs typeface="+mn-cs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err="1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8800" y="8640000"/>
            <a:ext cx="44820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57348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9200" y="685800"/>
            <a:ext cx="4422775" cy="331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err="1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8800" y="8640000"/>
            <a:ext cx="44820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573480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9200" y="685800"/>
            <a:ext cx="4422775" cy="331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err="1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8800" y="8640000"/>
            <a:ext cx="44820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57348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9200" y="685800"/>
            <a:ext cx="4422775" cy="331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Давайте знакомиться: Олеся, Лена</a:t>
            </a:r>
          </a:p>
          <a:p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Это наша динамичная команда, где каждый в соответствии с отведенной им ролью участвует в совместном достижении целей.</a:t>
            </a:r>
          </a:p>
          <a:p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В нашей команде есть роли статические (</a:t>
            </a:r>
            <a:r>
              <a:rPr lang="ru-RU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тимлид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, </a:t>
            </a:r>
            <a:r>
              <a:rPr lang="ru-RU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автоматизатор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, специалист по поддержке </a:t>
            </a:r>
            <a:r>
              <a:rPr lang="ru-RU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Prozesstest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или </a:t>
            </a:r>
            <a:r>
              <a:rPr lang="ru-RU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Produktion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версии), динамические (руководители версий, эксперты по версии, </a:t>
            </a:r>
            <a:r>
              <a:rPr lang="ru-RU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тестировщики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), а также роли, необходимые в любой успешной команде (руководитель задания, консультант, генератор идей, адвокат дьявола, </a:t>
            </a:r>
            <a:r>
              <a:rPr lang="ru-RU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фасилитатор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, секретарь)</a:t>
            </a:r>
            <a:endParaRPr lang="en-US" sz="800" kern="1200" dirty="0" smtClean="0">
              <a:solidFill>
                <a:schemeClr val="tx1"/>
              </a:solidFill>
              <a:effectLst/>
              <a:latin typeface="Tele-GroteskFet" pitchFamily="2" charset="0"/>
              <a:ea typeface="+mn-ea"/>
              <a:cs typeface="+mn-cs"/>
            </a:endParaRPr>
          </a:p>
          <a:p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Но вначале становления не было распределения ролей и наша команда формировалась в том числе под влиянием некоторых негативных факторов</a:t>
            </a:r>
            <a:endParaRPr lang="ru-RU" sz="800" kern="1200" dirty="0">
              <a:solidFill>
                <a:schemeClr val="tx1"/>
              </a:solidFill>
              <a:effectLst/>
              <a:latin typeface="Tele-GroteskFet" pitchFamily="2" charset="0"/>
              <a:ea typeface="+mn-ea"/>
              <a:cs typeface="+mn-cs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err="1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8800" y="8640000"/>
            <a:ext cx="44820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57348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9200" y="685800"/>
            <a:ext cx="4422775" cy="331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Была только статика, которая логичным образом сменилась хаосом. </a:t>
            </a:r>
          </a:p>
          <a:p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Наш проект резко и быстро вырос с 2 человек до 40, но при этом оставались</a:t>
            </a:r>
          </a:p>
          <a:p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Несформированными рабочие процессы и практически отсутствовала коммуникация между командами тестирования, разработки, спецификации, конфигурации.</a:t>
            </a:r>
          </a:p>
          <a:p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У </a:t>
            </a:r>
            <a:r>
              <a:rPr lang="ru-RU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тестировщиков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было только гуманитарное образование, т.е. в приоритете было знание немецкого языка, при этом почти полностью отсутствовала</a:t>
            </a:r>
          </a:p>
          <a:p>
            <a:r>
              <a:rPr lang="ru-RU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внутрипроектная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база знаний и какие-либо источники информации. </a:t>
            </a:r>
          </a:p>
          <a:p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И в целом в проекте не было определенности в выборе методологий разработки.</a:t>
            </a:r>
          </a:p>
          <a:p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В этих условиях мы начали искать пути выхода из этого состояния. </a:t>
            </a:r>
            <a:endParaRPr lang="ru-RU" sz="800" kern="1200" dirty="0">
              <a:solidFill>
                <a:schemeClr val="tx1"/>
              </a:solidFill>
              <a:effectLst/>
              <a:latin typeface="Tele-GroteskFet" pitchFamily="2" charset="0"/>
              <a:ea typeface="+mn-ea"/>
              <a:cs typeface="+mn-cs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err="1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8800" y="8640000"/>
            <a:ext cx="44820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57348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9200" y="685800"/>
            <a:ext cx="4422775" cy="331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В основе у нас лежали надежные, простые и универсальные (</a:t>
            </a:r>
            <a:r>
              <a:rPr lang="ru-RU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Reliable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</a:t>
            </a:r>
            <a:r>
              <a:rPr lang="ru-RU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Easy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</a:t>
            </a:r>
            <a:r>
              <a:rPr lang="ru-RU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Versatile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) техники изменений: </a:t>
            </a:r>
            <a:r>
              <a:rPr lang="de-DE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technical</a:t>
            </a:r>
            <a:r>
              <a:rPr lang="de-DE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</a:t>
            </a:r>
            <a:r>
              <a:rPr lang="de-DE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tools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, </a:t>
            </a:r>
            <a:r>
              <a:rPr lang="de-DE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operational </a:t>
            </a:r>
            <a:r>
              <a:rPr lang="de-DE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management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, </a:t>
            </a:r>
            <a:r>
              <a:rPr lang="de-DE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people</a:t>
            </a:r>
            <a:r>
              <a:rPr lang="de-DE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</a:t>
            </a:r>
            <a:r>
              <a:rPr lang="de-DE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management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, о которых мы более подробно сейчас расскажем</a:t>
            </a:r>
            <a:endParaRPr lang="ru-RU" sz="800" kern="1200" dirty="0">
              <a:solidFill>
                <a:schemeClr val="tx1"/>
              </a:solidFill>
              <a:effectLst/>
              <a:latin typeface="Tele-GroteskFet" pitchFamily="2" charset="0"/>
              <a:ea typeface="+mn-ea"/>
              <a:cs typeface="+mn-cs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err="1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8800" y="8640000"/>
            <a:ext cx="44820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57348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9200" y="685800"/>
            <a:ext cx="4422775" cy="331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8800" y="3876675"/>
            <a:ext cx="5900400" cy="2524125"/>
          </a:xfrm>
        </p:spPr>
        <p:txBody>
          <a:bodyPr/>
          <a:lstStyle/>
          <a:p>
            <a:pPr algn="l"/>
            <a:r>
              <a:rPr lang="ru-RU" sz="1200" dirty="0" smtClean="0">
                <a:ea typeface="Segoe UI Symbol" panose="020B0502040204020203" pitchFamily="34" charset="0"/>
              </a:rPr>
              <a:t>Справочная информация переносилась из тестов в базу знаний, с ростом уровня сложности тестов и опыта </a:t>
            </a:r>
            <a:r>
              <a:rPr lang="ru-RU" sz="1200" dirty="0" err="1" smtClean="0">
                <a:ea typeface="Segoe UI Symbol" panose="020B0502040204020203" pitchFamily="34" charset="0"/>
              </a:rPr>
              <a:t>тестировщиков</a:t>
            </a:r>
            <a:r>
              <a:rPr lang="ru-RU" sz="1200" dirty="0" smtClean="0">
                <a:ea typeface="Segoe UI Symbol" panose="020B0502040204020203" pitchFamily="34" charset="0"/>
              </a:rPr>
              <a:t> тесты стали более общими, схематичными, короткими и понятными, по формату ближе к </a:t>
            </a:r>
            <a:r>
              <a:rPr lang="ru-RU" sz="1200" dirty="0" err="1" smtClean="0">
                <a:ea typeface="Segoe UI Symbol" panose="020B0502040204020203" pitchFamily="34" charset="0"/>
              </a:rPr>
              <a:t>чеклисту</a:t>
            </a:r>
            <a:endParaRPr lang="ru-RU" sz="3200" dirty="0">
              <a:ea typeface="Segoe UI Symbol" panose="020B0502040204020203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57348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9200" y="685800"/>
            <a:ext cx="4422775" cy="331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7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Изначально возможность автоматического тестирования в проекте казалась довольно сомнительной ввиду сложности и специфичности </a:t>
            </a:r>
            <a:r>
              <a:rPr lang="ru-RU" sz="700" b="0" i="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бизнеслогики</a:t>
            </a:r>
            <a:r>
              <a:rPr lang="ru-RU" sz="7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. Ни одно готовое решение не подходило под наши нужды. В итоге приняли решение написать свой </a:t>
            </a:r>
            <a:r>
              <a:rPr lang="ru-RU" sz="700" b="0" i="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фреймворк</a:t>
            </a:r>
            <a:r>
              <a:rPr lang="ru-RU" sz="7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, который теперь используется также и в других проектах нашего подразделения.</a:t>
            </a:r>
          </a:p>
          <a:p>
            <a:r>
              <a:rPr lang="ru-RU" sz="7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***</a:t>
            </a:r>
          </a:p>
          <a:p>
            <a:r>
              <a:rPr lang="ru-RU" sz="7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Изначально нас призывали адаптировать имеющиеся </a:t>
            </a:r>
            <a:r>
              <a:rPr lang="ru-RU" sz="700" b="0" i="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тулы</a:t>
            </a:r>
            <a:r>
              <a:rPr lang="ru-RU" sz="7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под наши нужды, мы смогли убедить в необходимости новых тулов, однако и от старых уйти нам не удалось. Например, </a:t>
            </a:r>
            <a:r>
              <a:rPr lang="ru-RU" sz="700" b="0" i="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багтрекинг</a:t>
            </a:r>
            <a:r>
              <a:rPr lang="ru-RU" sz="7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осуществляется по-прежнему в ПР-Туле – продукте, написанном более 10 лет назад и с тех пор существенно не менявшемся.</a:t>
            </a:r>
          </a:p>
          <a:p>
            <a:endParaRPr lang="de-DE" sz="500" dirty="0">
              <a:latin typeface="Tele-GroteskHal" pitchFamily="2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err="1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8800" y="8640000"/>
            <a:ext cx="44820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57348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9200" y="685800"/>
            <a:ext cx="4422775" cy="331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8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Внедрение </a:t>
            </a:r>
            <a:r>
              <a:rPr lang="ru-RU" sz="800" b="0" i="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Agile</a:t>
            </a:r>
            <a:r>
              <a:rPr lang="ru-RU" sz="8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методик происходит в проекте долго и с трудом, пару лет назад мы официально перешли на итеративный подход. Однако в тестовой команде к каждому </a:t>
            </a:r>
            <a:r>
              <a:rPr lang="ru-RU" sz="800" b="0" i="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тестировщику</a:t>
            </a:r>
            <a:r>
              <a:rPr lang="ru-RU" sz="8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предъявляются высокие требования: уровень ответственности, компетенции - требуется большой багаж знаний, при этом, уровень взаимозаменяемости достаточно высок. Мы довольно давно начали использовать </a:t>
            </a:r>
            <a:r>
              <a:rPr lang="ru-RU" sz="800" b="0" i="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эджайл</a:t>
            </a:r>
            <a:r>
              <a:rPr lang="ru-RU" sz="8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-элементы.</a:t>
            </a:r>
            <a:endParaRPr lang="en-US" sz="800" b="0" i="0" kern="1200" dirty="0" smtClean="0">
              <a:solidFill>
                <a:schemeClr val="tx1"/>
              </a:solidFill>
              <a:effectLst/>
              <a:latin typeface="Tele-GroteskFet" pitchFamily="2" charset="0"/>
              <a:ea typeface="+mn-ea"/>
              <a:cs typeface="+mn-cs"/>
            </a:endParaRPr>
          </a:p>
          <a:p>
            <a:r>
              <a:rPr lang="ru-RU" sz="8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Необходимость базы знаний </a:t>
            </a:r>
            <a:r>
              <a:rPr lang="en-US" sz="8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lang="ru-RU" sz="800" b="0" i="0" kern="1200" baseline="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  <a:sym typeface="Wingdings" panose="05000000000000000000" pitchFamily="2" charset="2"/>
              </a:rPr>
              <a:t> </a:t>
            </a:r>
            <a:r>
              <a:rPr lang="ru-RU" sz="8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сложная </a:t>
            </a:r>
            <a:r>
              <a:rPr lang="ru-RU" sz="800" b="0" i="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бизнеслогика</a:t>
            </a:r>
            <a:r>
              <a:rPr lang="ru-RU" sz="8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. </a:t>
            </a:r>
          </a:p>
          <a:p>
            <a:r>
              <a:rPr lang="ru-RU" sz="8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Чтобы разобраться - время, интеллектуальный ресурс</a:t>
            </a:r>
            <a:r>
              <a:rPr lang="ru-RU" sz="800" b="0" i="0" kern="1200" baseline="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- </a:t>
            </a:r>
            <a:r>
              <a:rPr lang="ru-RU" sz="8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чтобы собрать информацию по кусочкам у множества коллег. Этим занимались отдельные ответственные лица, и эту информацию было необходимо обобщать, оформлять и хранить. Поэтому у нас база знаний и обмен информацией занимает довольно важное место.</a:t>
            </a:r>
          </a:p>
          <a:p>
            <a:r>
              <a:rPr lang="ru-RU" sz="8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А для того, чтобы использовать эту инфо, надо быть неплохим </a:t>
            </a:r>
            <a:r>
              <a:rPr lang="ru-RU" sz="800" b="0" i="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тестировщиком</a:t>
            </a:r>
            <a:r>
              <a:rPr lang="ru-RU" sz="8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, имеющим представление о тестировании не в общих чертах. </a:t>
            </a:r>
          </a:p>
          <a:p>
            <a:r>
              <a:rPr lang="ru-RU" sz="800" b="0" i="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Айстикуби</a:t>
            </a:r>
            <a:r>
              <a:rPr lang="ru-RU" sz="8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: на базе компании проходят курсы и сама сдача экзамена. </a:t>
            </a:r>
            <a:r>
              <a:rPr lang="ru-RU" sz="800" b="0" i="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Айстикуби</a:t>
            </a:r>
            <a:r>
              <a:rPr lang="ru-RU" sz="8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</a:t>
            </a:r>
            <a:r>
              <a:rPr lang="ru-RU" sz="800" b="0" i="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фондейшн</a:t>
            </a:r>
            <a:r>
              <a:rPr lang="ru-RU" sz="8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стал обязателен для многих проектов компании, так же и у нас в проекте, любому новичку ставится задача на испытательный срок – сдать экзамен</a:t>
            </a:r>
            <a:r>
              <a:rPr lang="ru-RU" sz="800" b="0" i="0" kern="1200" baseline="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– Так как используется терминология, системный подход – формирование базы знаний о тестировании</a:t>
            </a:r>
            <a:endParaRPr lang="ru-RU" sz="800" b="0" i="0" kern="1200" dirty="0" smtClean="0">
              <a:solidFill>
                <a:schemeClr val="tx1"/>
              </a:solidFill>
              <a:effectLst/>
              <a:latin typeface="Tele-GroteskFet" pitchFamily="2" charset="0"/>
              <a:ea typeface="+mn-ea"/>
              <a:cs typeface="+mn-cs"/>
            </a:endParaRPr>
          </a:p>
          <a:p>
            <a:endParaRPr lang="ru-RU" sz="800" b="0" i="0" kern="1200" dirty="0" smtClean="0">
              <a:solidFill>
                <a:schemeClr val="tx1"/>
              </a:solidFill>
              <a:effectLst/>
              <a:latin typeface="Tele-GroteskFet" pitchFamily="2" charset="0"/>
              <a:ea typeface="+mn-ea"/>
              <a:cs typeface="+mn-cs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err="1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8800" y="8640000"/>
            <a:ext cx="44820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57348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9200" y="685800"/>
            <a:ext cx="4422775" cy="331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8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Эта активность помогает нам не только в планировании, но и иллюстрирует наши прогнозы относительно рисков, объяснить менеджменту, чем именно занимается команда тестирования, и зачем так много тестеров (такие вопросы до сих пор иногда возникают)</a:t>
            </a:r>
          </a:p>
          <a:p>
            <a:r>
              <a:rPr lang="ru-RU" sz="8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***</a:t>
            </a:r>
          </a:p>
          <a:p>
            <a:r>
              <a:rPr lang="ru-RU" sz="8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В определённый момент времени мы поняли, что команда тотально перегружена, и ситуация не улучшается, если мы берём переработки. Систематические переработки</a:t>
            </a:r>
          </a:p>
          <a:p>
            <a:r>
              <a:rPr lang="ru-RU" sz="8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подрывали дух и здоровье команды. Мы стали искать пути выхода из такой ситуации. Мы не только старались оптимизировать процессы, но и стали учиться отказываться от переработок, переносить </a:t>
            </a:r>
            <a:r>
              <a:rPr lang="ru-RU" sz="800" b="0" i="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цры</a:t>
            </a:r>
            <a:r>
              <a:rPr lang="ru-RU" sz="8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на следующие версии, выстраивать более конструктивный диалог.</a:t>
            </a:r>
            <a:endParaRPr lang="ru-RU" sz="800" b="0" i="0" kern="1200" dirty="0">
              <a:solidFill>
                <a:schemeClr val="tx1"/>
              </a:solidFill>
              <a:effectLst/>
              <a:latin typeface="Tele-GroteskFet" pitchFamily="2" charset="0"/>
              <a:ea typeface="+mn-ea"/>
              <a:cs typeface="+mn-cs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err="1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8800" y="8640000"/>
            <a:ext cx="44820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70583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9200" y="685800"/>
            <a:ext cx="4422775" cy="331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Важной системой развития и управления командой является </a:t>
            </a:r>
            <a:r>
              <a:rPr lang="de-DE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People </a:t>
            </a:r>
            <a:r>
              <a:rPr lang="de-DE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management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.</a:t>
            </a:r>
            <a:b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</a:b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Мы учитывали </a:t>
            </a:r>
            <a:r>
              <a:rPr lang="ru-RU" sz="800" u="sng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психологические особенности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каждого члена команды, использовали при этом </a:t>
            </a:r>
            <a:b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</a:b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Тест на определение типа личности </a:t>
            </a:r>
            <a:r>
              <a:rPr lang="de-DE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DISC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, которая делит людей по цветам, рассматривает стили поведения и предпочтения в поведении и Тест по </a:t>
            </a:r>
            <a:r>
              <a:rPr lang="ru-RU" sz="800" kern="120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Адизесу</a:t>
            </a:r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, который помогает определить роли и задачи для каждого члена команды исходя из его типа, тем самым достичь максимальной эффективности</a:t>
            </a:r>
          </a:p>
          <a:p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 </a:t>
            </a:r>
          </a:p>
          <a:p>
            <a:r>
              <a:rPr lang="ru-RU" sz="80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Применяя их совместно, можно достаточно точно описать характер человека, а значит и выбрать наиболее эффективные способы взаимодействия с ним</a:t>
            </a:r>
            <a:endParaRPr lang="ru-RU" sz="800" kern="1200" dirty="0">
              <a:solidFill>
                <a:schemeClr val="tx1"/>
              </a:solidFill>
              <a:effectLst/>
              <a:latin typeface="Tele-GroteskFet" pitchFamily="2" charset="0"/>
              <a:ea typeface="+mn-ea"/>
              <a:cs typeface="+mn-cs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err="1" smtClean="0">
                <a:solidFill>
                  <a:prstClr val="black"/>
                </a:solidFill>
                <a:latin typeface="Calibri"/>
              </a:rPr>
              <a:t>tt.mm.jjjj</a:t>
            </a: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8800" y="8640000"/>
            <a:ext cx="4482000" cy="2808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>
                <a:solidFill>
                  <a:prstClr val="black"/>
                </a:solidFill>
                <a:latin typeface="Calibri"/>
              </a:rPr>
              <a:t>– Streng vertraulich, Vertraulich, Intern – Autor / Thema der Präsentation</a:t>
            </a: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>
                <a:solidFill>
                  <a:prstClr val="black"/>
                </a:solidFill>
                <a:latin typeface="Calibri"/>
              </a:rPr>
              <a:pPr/>
              <a:t>9</a:t>
            </a:fld>
            <a:endParaRPr lang="de-DE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770583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3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5.xml"/><Relationship Id="rId7" Type="http://schemas.openxmlformats.org/officeDocument/2006/relationships/oleObject" Target="../embeddings/oleObject30.bin"/><Relationship Id="rId2" Type="http://schemas.openxmlformats.org/officeDocument/2006/relationships/tags" Target="../tags/tag34.xml"/><Relationship Id="rId1" Type="http://schemas.openxmlformats.org/officeDocument/2006/relationships/vmlDrawing" Target="../drawings/vmlDrawing30.vml"/><Relationship Id="rId6" Type="http://schemas.openxmlformats.org/officeDocument/2006/relationships/slideMaster" Target="../slideMasters/slideMaster2.xml"/><Relationship Id="rId11" Type="http://schemas.openxmlformats.org/officeDocument/2006/relationships/image" Target="../media/image4.emf"/><Relationship Id="rId5" Type="http://schemas.openxmlformats.org/officeDocument/2006/relationships/tags" Target="../tags/tag37.xml"/><Relationship Id="rId10" Type="http://schemas.openxmlformats.org/officeDocument/2006/relationships/image" Target="../media/image3.emf"/><Relationship Id="rId4" Type="http://schemas.openxmlformats.org/officeDocument/2006/relationships/tags" Target="../tags/tag36.xml"/><Relationship Id="rId9" Type="http://schemas.openxmlformats.org/officeDocument/2006/relationships/image" Target="../media/image6.jpe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.bin"/><Relationship Id="rId9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image" Target="../media/image6.jpe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4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4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4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4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4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45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4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5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115896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88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60000" y="1512000"/>
            <a:ext cx="9366613" cy="255866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lang="en-US" sz="4800" dirty="0" smtClean="0">
                <a:latin typeface="TeleGrotesk Headline" pitchFamily="2" charset="0"/>
              </a:rPr>
              <a:t>Maximum of 3 lines</a:t>
            </a:r>
            <a:br>
              <a:rPr lang="en-US" sz="4800" dirty="0" smtClean="0">
                <a:latin typeface="TeleGrotesk Headline" pitchFamily="2" charset="0"/>
              </a:rPr>
            </a:br>
            <a:r>
              <a:rPr lang="en-US" sz="4800" dirty="0" smtClean="0">
                <a:latin typeface="TeleGrotesk Headline" pitchFamily="2" charset="0"/>
              </a:rPr>
              <a:t>40 (48) 66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61950" y="4505418"/>
            <a:ext cx="9364663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/>
          <a:srcRect r="64979"/>
          <a:stretch>
            <a:fillRect/>
          </a:stretch>
        </p:blipFill>
        <p:spPr bwMode="black">
          <a:xfrm>
            <a:off x="360000" y="6678000"/>
            <a:ext cx="1224495" cy="521999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/>
          <a:srcRect l="43101"/>
          <a:stretch>
            <a:fillRect/>
          </a:stretch>
        </p:blipFill>
        <p:spPr bwMode="black">
          <a:xfrm>
            <a:off x="7734009" y="6678000"/>
            <a:ext cx="1989432" cy="52199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8240067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94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6" y="140"/>
            <a:ext cx="10076750" cy="7559619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80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96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7" y="140"/>
            <a:ext cx="10076748" cy="755961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852118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39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1937" y="1"/>
            <a:ext cx="10078941" cy="7561263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3960000"/>
            <a:ext cx="9360000" cy="2486908"/>
          </a:xfrm>
        </p:spPr>
        <p:txBody>
          <a:bodyPr anchor="b" anchorCtr="0"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824589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62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0080625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214540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0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88000"/>
            <a:ext cx="4607288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112000" y="1"/>
            <a:ext cx="4968000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94423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10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12000" y="288000"/>
            <a:ext cx="4610100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112000" y="1620000"/>
            <a:ext cx="4608000" cy="4896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968000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01645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01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551808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03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02135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1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60000" y="1620000"/>
            <a:ext cx="9360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6503710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3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26624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41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60000" y="3560510"/>
            <a:ext cx="9359901" cy="2595490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60000" y="2269846"/>
            <a:ext cx="9034573" cy="388615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3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60000" y="2631232"/>
            <a:ext cx="8697256" cy="3524768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48) 60 pt 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346000"/>
            <a:ext cx="84237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/>
          <a:srcRect r="64605"/>
          <a:stretch>
            <a:fillRect/>
          </a:stretch>
        </p:blipFill>
        <p:spPr>
          <a:xfrm>
            <a:off x="360000" y="6678000"/>
            <a:ext cx="1237572" cy="5220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/>
          <a:srcRect l="42246"/>
          <a:stretch>
            <a:fillRect/>
          </a:stretch>
        </p:blipFill>
        <p:spPr>
          <a:xfrm>
            <a:off x="7704083" y="6678000"/>
            <a:ext cx="2019358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462381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4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713798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537874" y="1620000"/>
            <a:ext cx="3008152" cy="4896000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06333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6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4896000"/>
          </a:xfrm>
        </p:spPr>
        <p:txBody>
          <a:bodyPr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80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37378" y="1620000"/>
            <a:ext cx="2232000" cy="48960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23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787390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41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text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4608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08730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43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021" cy="5306263"/>
          </a:xfrm>
        </p:spPr>
        <p:txBody>
          <a:bodyPr/>
          <a:lstStyle>
            <a:lvl1pPr>
              <a:defRPr sz="1400"/>
            </a:lvl1pPr>
            <a:lvl2pPr>
              <a:defRPr sz="1400" baseline="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Quotation/lead-in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53793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71392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baseline="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977603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46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Quotation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736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551808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30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tt.mm.jjjj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– Streng vertraulich, Vertraulich, Intern –     Autor / Thema der Präsentation </a:t>
            </a:r>
            <a:endParaRPr lang="de-DE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7036642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22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60000" y="1512000"/>
            <a:ext cx="9366613" cy="255866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lang="en-US" sz="4800" dirty="0" smtClean="0">
                <a:latin typeface="TeleGrotesk Headline" pitchFamily="2" charset="0"/>
              </a:rPr>
              <a:t>Maximum of 3 lines</a:t>
            </a:r>
            <a:br>
              <a:rPr lang="en-US" sz="4800" dirty="0" smtClean="0">
                <a:latin typeface="TeleGrotesk Headline" pitchFamily="2" charset="0"/>
              </a:rPr>
            </a:br>
            <a:r>
              <a:rPr lang="en-US" sz="4800" dirty="0" smtClean="0">
                <a:latin typeface="TeleGrotesk Headline" pitchFamily="2" charset="0"/>
              </a:rPr>
              <a:t>40 (48) 66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61950" y="4505418"/>
            <a:ext cx="9364663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/>
          <a:srcRect r="64979"/>
          <a:stretch>
            <a:fillRect/>
          </a:stretch>
        </p:blipFill>
        <p:spPr bwMode="black">
          <a:xfrm>
            <a:off x="360000" y="6678000"/>
            <a:ext cx="1224495" cy="521999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/>
          <a:srcRect l="43101"/>
          <a:stretch>
            <a:fillRect/>
          </a:stretch>
        </p:blipFill>
        <p:spPr bwMode="black">
          <a:xfrm>
            <a:off x="7734009" y="6678000"/>
            <a:ext cx="1989432" cy="52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687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2657524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24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60000" y="3560510"/>
            <a:ext cx="9359901" cy="2595490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60000" y="2269846"/>
            <a:ext cx="9034573" cy="388615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3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60000" y="2631232"/>
            <a:ext cx="8697256" cy="3524768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48) 60 pt 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346000"/>
            <a:ext cx="84237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/>
          <a:srcRect r="64605"/>
          <a:stretch>
            <a:fillRect/>
          </a:stretch>
        </p:blipFill>
        <p:spPr>
          <a:xfrm>
            <a:off x="360000" y="6678000"/>
            <a:ext cx="1237572" cy="5220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/>
          <a:srcRect l="42246"/>
          <a:stretch>
            <a:fillRect/>
          </a:stretch>
        </p:blipFill>
        <p:spPr>
          <a:xfrm>
            <a:off x="7704083" y="6678000"/>
            <a:ext cx="2019358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121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720666"/>
              </p:ext>
            </p:extLst>
          </p:nvPr>
        </p:nvGraphicFramePr>
        <p:xfrm>
          <a:off x="1387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273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Picture 6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0" r="1307"/>
          <a:stretch/>
        </p:blipFill>
        <p:spPr bwMode="auto">
          <a:xfrm>
            <a:off x="0" y="0"/>
            <a:ext cx="10080000" cy="7560000"/>
          </a:xfrm>
          <a:prstGeom prst="rect">
            <a:avLst/>
          </a:prstGeom>
          <a:noFill/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61483" y="3441654"/>
            <a:ext cx="9365545" cy="3762108"/>
            <a:chOff x="251" y="1858"/>
            <a:chExt cx="5282" cy="2031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27"/>
              <a:ext cx="5282" cy="1362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51" y="1858"/>
              <a:ext cx="4817" cy="203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51" y="2017"/>
              <a:ext cx="4502" cy="187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61950" y="3734323"/>
            <a:ext cx="7980841" cy="1661993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1950" y="5708745"/>
            <a:ext cx="7980841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Grafik 37" descr="T_Logo_3c_Slogan_p_INT.emf"/>
          <p:cNvPicPr>
            <a:picLocks noChangeAspect="1"/>
          </p:cNvPicPr>
          <p:nvPr userDrawn="1"/>
        </p:nvPicPr>
        <p:blipFill>
          <a:blip r:embed="rId11"/>
          <a:srcRect r="64979"/>
          <a:stretch>
            <a:fillRect/>
          </a:stretch>
        </p:blipFill>
        <p:spPr>
          <a:xfrm>
            <a:off x="539823" y="6501629"/>
            <a:ext cx="1224495" cy="521999"/>
          </a:xfrm>
          <a:prstGeom prst="rect">
            <a:avLst/>
          </a:prstGeom>
        </p:spPr>
      </p:pic>
      <p:pic>
        <p:nvPicPr>
          <p:cNvPr id="39" name="Grafik 38" descr="T_Logo_3c_Slogan_p_INT.emf"/>
          <p:cNvPicPr>
            <a:picLocks noChangeAspect="1"/>
          </p:cNvPicPr>
          <p:nvPr userDrawn="1"/>
        </p:nvPicPr>
        <p:blipFill>
          <a:blip r:embed="rId11"/>
          <a:srcRect l="43101"/>
          <a:stretch>
            <a:fillRect/>
          </a:stretch>
        </p:blipFill>
        <p:spPr>
          <a:xfrm>
            <a:off x="7546684" y="6501629"/>
            <a:ext cx="1989432" cy="52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514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8700654"/>
              </p:ext>
            </p:extLst>
          </p:nvPr>
        </p:nvGraphicFramePr>
        <p:xfrm>
          <a:off x="1387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29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Picture 19"/>
          <p:cNvPicPr preferRelativeResize="0"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38889"/>
          <a:stretch/>
        </p:blipFill>
        <p:spPr bwMode="gray">
          <a:xfrm>
            <a:off x="360000" y="360000"/>
            <a:ext cx="9360000" cy="3817553"/>
          </a:xfrm>
          <a:prstGeom prst="rect">
            <a:avLst/>
          </a:prstGeom>
          <a:noFill/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print"/>
          <a:srcRect r="11" b="-468"/>
          <a:stretch>
            <a:fillRect/>
          </a:stretch>
        </p:blipFill>
        <p:spPr bwMode="gray">
          <a:xfrm>
            <a:off x="360000" y="3660229"/>
            <a:ext cx="9360000" cy="53532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60000" y="4017731"/>
            <a:ext cx="9360000" cy="2138269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60000" y="5345957"/>
            <a:ext cx="9366613" cy="384080"/>
          </a:xfrm>
        </p:spPr>
        <p:txBody>
          <a:bodyPr wrap="square"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34" name="Grafik 33" descr="T_Logo_3c_Slogan_p_INT.emf"/>
          <p:cNvPicPr>
            <a:picLocks noChangeAspect="1"/>
          </p:cNvPicPr>
          <p:nvPr userDrawn="1"/>
        </p:nvPicPr>
        <p:blipFill>
          <a:blip r:embed="rId9"/>
          <a:srcRect r="64605"/>
          <a:stretch>
            <a:fillRect/>
          </a:stretch>
        </p:blipFill>
        <p:spPr>
          <a:xfrm>
            <a:off x="360000" y="6678000"/>
            <a:ext cx="1237572" cy="522000"/>
          </a:xfrm>
          <a:prstGeom prst="rect">
            <a:avLst/>
          </a:prstGeom>
        </p:spPr>
      </p:pic>
      <p:pic>
        <p:nvPicPr>
          <p:cNvPr id="35" name="Grafik 34" descr="T_Logo_3c_Slogan_p_INT.emf"/>
          <p:cNvPicPr>
            <a:picLocks noChangeAspect="1"/>
          </p:cNvPicPr>
          <p:nvPr userDrawn="1"/>
        </p:nvPicPr>
        <p:blipFill>
          <a:blip r:embed="rId9"/>
          <a:srcRect l="42246"/>
          <a:stretch>
            <a:fillRect/>
          </a:stretch>
        </p:blipFill>
        <p:spPr>
          <a:xfrm>
            <a:off x="7704083" y="6678000"/>
            <a:ext cx="2019358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37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006018"/>
              </p:ext>
            </p:extLst>
          </p:nvPr>
        </p:nvGraphicFramePr>
        <p:xfrm>
          <a:off x="1387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17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Picture 6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0" r="1307"/>
          <a:stretch/>
        </p:blipFill>
        <p:spPr bwMode="auto">
          <a:xfrm>
            <a:off x="0" y="0"/>
            <a:ext cx="10080000" cy="7560000"/>
          </a:xfrm>
          <a:prstGeom prst="rect">
            <a:avLst/>
          </a:prstGeom>
          <a:noFill/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61483" y="3441654"/>
            <a:ext cx="9365545" cy="3762108"/>
            <a:chOff x="251" y="1858"/>
            <a:chExt cx="5282" cy="2031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27"/>
              <a:ext cx="5282" cy="1362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51" y="1858"/>
              <a:ext cx="4817" cy="203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51" y="2017"/>
              <a:ext cx="4502" cy="187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61950" y="3734323"/>
            <a:ext cx="7980841" cy="1661993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1950" y="5708745"/>
            <a:ext cx="7980841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Grafik 37" descr="T_Logo_3c_Slogan_p_INT.emf"/>
          <p:cNvPicPr>
            <a:picLocks noChangeAspect="1"/>
          </p:cNvPicPr>
          <p:nvPr userDrawn="1"/>
        </p:nvPicPr>
        <p:blipFill>
          <a:blip r:embed="rId11"/>
          <a:srcRect r="64979"/>
          <a:stretch>
            <a:fillRect/>
          </a:stretch>
        </p:blipFill>
        <p:spPr>
          <a:xfrm>
            <a:off x="539823" y="6501629"/>
            <a:ext cx="1224495" cy="521999"/>
          </a:xfrm>
          <a:prstGeom prst="rect">
            <a:avLst/>
          </a:prstGeom>
        </p:spPr>
      </p:pic>
      <p:pic>
        <p:nvPicPr>
          <p:cNvPr id="39" name="Grafik 38" descr="T_Logo_3c_Slogan_p_INT.emf"/>
          <p:cNvPicPr>
            <a:picLocks noChangeAspect="1"/>
          </p:cNvPicPr>
          <p:nvPr userDrawn="1"/>
        </p:nvPicPr>
        <p:blipFill>
          <a:blip r:embed="rId11"/>
          <a:srcRect l="43101"/>
          <a:stretch>
            <a:fillRect/>
          </a:stretch>
        </p:blipFill>
        <p:spPr>
          <a:xfrm>
            <a:off x="7546684" y="6501629"/>
            <a:ext cx="1989432" cy="52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493138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32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dirty="0" err="1" smtClean="0">
                <a:solidFill>
                  <a:srgbClr val="E20074"/>
                </a:solidFill>
              </a:rPr>
              <a:t>dd.mm.yyyy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E20074"/>
                </a:solidFill>
              </a:rPr>
              <a:t>– Strictly confidential, Confidential, Internal–     Author /Presentation Topic</a:t>
            </a:r>
            <a:endParaRPr lang="en-US" dirty="0" smtClean="0">
              <a:solidFill>
                <a:srgbClr val="E200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163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4443911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4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E20074"/>
                </a:solidFill>
              </a:rPr>
              <a:t>– Strictly confidential, Confidential, Internal–     Author /Presentation Topic</a:t>
            </a:r>
            <a:endParaRPr lang="en-US" dirty="0" smtClean="0">
              <a:solidFill>
                <a:srgbClr val="E20074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dd.mm.yyyy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1937" y="821"/>
            <a:ext cx="10076751" cy="7559620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8212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523063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6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E20074"/>
                </a:solidFill>
              </a:rPr>
              <a:t>– Strictly confidential, Confidential, Internal–     Author /Presentation Topic</a:t>
            </a:r>
            <a:endParaRPr lang="en-US" dirty="0" smtClean="0">
              <a:solidFill>
                <a:srgbClr val="E20074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dd.mm.yyyy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842" y="1"/>
            <a:ext cx="10078941" cy="7561263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285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898777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39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E20074"/>
                </a:solidFill>
              </a:rPr>
              <a:t>– Strictly confidential, Confidential, Internal–     Author /Presentation Topic</a:t>
            </a:r>
            <a:endParaRPr lang="en-US" dirty="0" smtClean="0">
              <a:solidFill>
                <a:srgbClr val="E20074"/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dd.mm.yyyy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7" y="140"/>
            <a:ext cx="10076747" cy="7559617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214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4663793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41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E20074"/>
                </a:solidFill>
              </a:rPr>
              <a:t>– Strictly confidential, Confidential, Internal–     Author /Presentation Topic</a:t>
            </a:r>
            <a:endParaRPr lang="en-US" dirty="0" smtClean="0">
              <a:solidFill>
                <a:srgbClr val="E20074"/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dd.mm.yyyy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5" y="141"/>
            <a:ext cx="10076751" cy="7559620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418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2466502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44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E20074"/>
                </a:solidFill>
              </a:rPr>
              <a:t>– Strictly confidential, Confidential, Internal–     Author /Presentation Topic</a:t>
            </a:r>
            <a:endParaRPr lang="en-US" dirty="0" smtClean="0">
              <a:solidFill>
                <a:srgbClr val="E20074"/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dd.mm.yyyy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6" y="140"/>
            <a:ext cx="10076750" cy="7559619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213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2166447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46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E20074"/>
                </a:solidFill>
              </a:rPr>
              <a:t>– Strictly confidential, Confidential, Internal–     Author /Presentation Topic</a:t>
            </a:r>
            <a:endParaRPr lang="en-US" dirty="0" smtClean="0">
              <a:solidFill>
                <a:srgbClr val="E20074"/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dd.mm.yyyy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7" y="140"/>
            <a:ext cx="10076748" cy="755961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504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110801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48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E20074"/>
                </a:solidFill>
              </a:rPr>
              <a:t>– Strictly confidential, Confidential, Internal–     Author /Presentation Topic</a:t>
            </a:r>
            <a:endParaRPr lang="en-US" dirty="0" smtClean="0">
              <a:solidFill>
                <a:srgbClr val="E20074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dd.mm.yyyy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1937" y="1"/>
            <a:ext cx="10078941" cy="7561263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3960000"/>
            <a:ext cx="9360000" cy="2486908"/>
          </a:xfrm>
        </p:spPr>
        <p:txBody>
          <a:bodyPr anchor="b" anchorCtr="0"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895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8358192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51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0080625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>
                <a:solidFill>
                  <a:srgbClr val="4B4B4B"/>
                </a:solidFill>
              </a:rPr>
              <a:t>– Strictly confidential, Confidential, Internal–     Author /Presentation Topic</a:t>
            </a:r>
            <a:endParaRPr lang="en-US" dirty="0" smtClean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79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3964259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53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88000"/>
            <a:ext cx="4607288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112000" y="1"/>
            <a:ext cx="4968000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>
                <a:solidFill>
                  <a:srgbClr val="4B4B4B"/>
                </a:solidFill>
              </a:rPr>
              <a:t>– Strictly confidential, Confidential, Internal–     Author /Presentation Topic</a:t>
            </a:r>
            <a:endParaRPr lang="en-US" dirty="0" smtClean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8826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2734722"/>
              </p:ext>
            </p:extLst>
          </p:nvPr>
        </p:nvGraphicFramePr>
        <p:xfrm>
          <a:off x="1387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4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Picture 19"/>
          <p:cNvPicPr preferRelativeResize="0"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38889"/>
          <a:stretch/>
        </p:blipFill>
        <p:spPr bwMode="gray">
          <a:xfrm>
            <a:off x="360000" y="360000"/>
            <a:ext cx="9360000" cy="3817553"/>
          </a:xfrm>
          <a:prstGeom prst="rect">
            <a:avLst/>
          </a:prstGeom>
          <a:noFill/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print"/>
          <a:srcRect r="11" b="-468"/>
          <a:stretch>
            <a:fillRect/>
          </a:stretch>
        </p:blipFill>
        <p:spPr bwMode="gray">
          <a:xfrm>
            <a:off x="360000" y="3660229"/>
            <a:ext cx="9360000" cy="53532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60000" y="4017731"/>
            <a:ext cx="9360000" cy="2138269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60000" y="5345957"/>
            <a:ext cx="9366613" cy="384080"/>
          </a:xfrm>
        </p:spPr>
        <p:txBody>
          <a:bodyPr wrap="square"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34" name="Grafik 33" descr="T_Logo_3c_Slogan_p_INT.emf"/>
          <p:cNvPicPr>
            <a:picLocks noChangeAspect="1"/>
          </p:cNvPicPr>
          <p:nvPr userDrawn="1"/>
        </p:nvPicPr>
        <p:blipFill>
          <a:blip r:embed="rId9"/>
          <a:srcRect r="64605"/>
          <a:stretch>
            <a:fillRect/>
          </a:stretch>
        </p:blipFill>
        <p:spPr>
          <a:xfrm>
            <a:off x="360000" y="6678000"/>
            <a:ext cx="1237572" cy="522000"/>
          </a:xfrm>
          <a:prstGeom prst="rect">
            <a:avLst/>
          </a:prstGeom>
        </p:spPr>
      </p:pic>
      <p:pic>
        <p:nvPicPr>
          <p:cNvPr id="35" name="Grafik 34" descr="T_Logo_3c_Slogan_p_INT.emf"/>
          <p:cNvPicPr>
            <a:picLocks noChangeAspect="1"/>
          </p:cNvPicPr>
          <p:nvPr userDrawn="1"/>
        </p:nvPicPr>
        <p:blipFill>
          <a:blip r:embed="rId9"/>
          <a:srcRect l="42246"/>
          <a:stretch>
            <a:fillRect/>
          </a:stretch>
        </p:blipFill>
        <p:spPr>
          <a:xfrm>
            <a:off x="7704083" y="6678000"/>
            <a:ext cx="2019358" cy="522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277989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56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12000" y="288000"/>
            <a:ext cx="4610100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112000" y="1620000"/>
            <a:ext cx="4608000" cy="4896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968000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>
                <a:solidFill>
                  <a:srgbClr val="4B4B4B"/>
                </a:solidFill>
              </a:rPr>
              <a:t>– Strictly confidential, Confidential, Internal–     Author /Presentation Topic</a:t>
            </a:r>
            <a:endParaRPr lang="en-US" dirty="0" smtClean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327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1575859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8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>
                <a:solidFill>
                  <a:srgbClr val="4B4B4B"/>
                </a:solidFill>
              </a:rPr>
              <a:t>– Strictly confidential, Confidential, Internal–     Author /Presentation Topic</a:t>
            </a:r>
            <a:endParaRPr lang="en-US" dirty="0" smtClean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180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5197968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60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>
                <a:solidFill>
                  <a:srgbClr val="4B4B4B"/>
                </a:solidFill>
              </a:rPr>
              <a:t>– Strictly confidential, Confidential, Internal–     Author /Presentation Topic</a:t>
            </a:r>
            <a:endParaRPr lang="en-US" dirty="0" smtClean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958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555256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63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60000" y="1620000"/>
            <a:ext cx="9360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>
                <a:solidFill>
                  <a:srgbClr val="4B4B4B"/>
                </a:solidFill>
              </a:rPr>
              <a:t>– Strictly confidential, Confidential, Internal–     Author /Presentation Topic</a:t>
            </a:r>
            <a:endParaRPr lang="en-US" dirty="0" smtClean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717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6106157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65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>
                <a:solidFill>
                  <a:srgbClr val="4B4B4B"/>
                </a:solidFill>
              </a:rPr>
              <a:t>– Strictly confidential, Confidential, Internal–     Author /Presentation Topic</a:t>
            </a:r>
            <a:endParaRPr lang="en-US" dirty="0" smtClean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362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8689272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68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713798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537874" y="1620000"/>
            <a:ext cx="3008152" cy="4896000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>
                <a:solidFill>
                  <a:srgbClr val="4B4B4B"/>
                </a:solidFill>
              </a:rPr>
              <a:t>– Strictly confidential, Confidential, Internal–     Author /Presentation Topic</a:t>
            </a:r>
            <a:endParaRPr lang="en-US" dirty="0" smtClean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430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428950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70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4896000"/>
          </a:xfrm>
        </p:spPr>
        <p:txBody>
          <a:bodyPr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80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37378" y="1620000"/>
            <a:ext cx="2232000" cy="48960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23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>
                <a:solidFill>
                  <a:srgbClr val="4B4B4B"/>
                </a:solidFill>
              </a:rPr>
              <a:t>– Strictly confidential, Confidential, Internal–     Author /Presentation Topic</a:t>
            </a:r>
            <a:endParaRPr lang="en-US" dirty="0" smtClean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4709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458210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372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text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4608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327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825521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75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021" cy="5306263"/>
          </a:xfrm>
        </p:spPr>
        <p:txBody>
          <a:bodyPr/>
          <a:lstStyle>
            <a:lvl1pPr>
              <a:defRPr sz="1400"/>
            </a:lvl1pPr>
            <a:lvl2pPr>
              <a:defRPr sz="1400" baseline="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Quotation/lead-in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53793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71392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baseline="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482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5561130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77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Quotation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736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486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802868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82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dirty="0" err="1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2333581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680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tt.mm.jjjj</a:t>
            </a:r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– Streng vertraulich, Vertraulich, Intern –     Autor / Thema der Präsentation </a:t>
            </a:r>
            <a:endParaRPr lang="de-DE" dirty="0" smtClean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9137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7272326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84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1937" y="821"/>
            <a:ext cx="10076751" cy="7559620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964844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87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842" y="1"/>
            <a:ext cx="10078941" cy="7561263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25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1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7" y="140"/>
            <a:ext cx="10076747" cy="7559617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075499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91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5" y="141"/>
            <a:ext cx="10076751" cy="7559620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oleObject" Target="../embeddings/oleObject27.bin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tags" Target="../tags/tag31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vmlDrawing" Target="../drawings/vmlDrawing27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9032655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61" name="think-cell Folie" r:id="rId29" imgW="360" imgH="360" progId="">
                  <p:embed/>
                </p:oleObj>
              </mc:Choice>
              <mc:Fallback>
                <p:oleObj name="think-cell Folie" r:id="rId29" imgW="360" imgH="360" progId="">
                  <p:embed/>
                  <p:pic>
                    <p:nvPicPr>
                      <p:cNvPr id="0" name="Picture 3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60001" y="288000"/>
            <a:ext cx="9359999" cy="588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60000" y="1620000"/>
            <a:ext cx="9360000" cy="489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8445500" y="6980111"/>
            <a:ext cx="897210" cy="353089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smtClean="0"/>
              <a:t>dd.mm.yyyy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407166" y="6980111"/>
            <a:ext cx="319447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816351" y="6980111"/>
            <a:ext cx="4539600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 smtClean="0"/>
              <a:t>– Strictly confidential, Confidential, Internal–     Author /Presentation Topic</a:t>
            </a:r>
          </a:p>
        </p:txBody>
      </p:sp>
      <p:pic>
        <p:nvPicPr>
          <p:cNvPr id="31" name="Grafik 30" descr="T_Logo_3c_Slogan_p_INT.emf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360000" y="6919200"/>
            <a:ext cx="2773050" cy="414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2" r:id="rId13"/>
    <p:sldLayoutId id="2147483971" r:id="rId14"/>
    <p:sldLayoutId id="2147483973" r:id="rId15"/>
    <p:sldLayoutId id="2147483716" r:id="rId16"/>
    <p:sldLayoutId id="2147483718" r:id="rId17"/>
    <p:sldLayoutId id="2147483722" r:id="rId18"/>
    <p:sldLayoutId id="2147483723" r:id="rId19"/>
    <p:sldLayoutId id="2147483969" r:id="rId20"/>
    <p:sldLayoutId id="2147483970" r:id="rId21"/>
    <p:sldLayoutId id="2147483930" r:id="rId22"/>
    <p:sldLayoutId id="2147483959" r:id="rId23"/>
    <p:sldLayoutId id="2147483960" r:id="rId24"/>
    <p:sldLayoutId id="2147483977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554326757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201" name="think-cell Folie" r:id="rId29" imgW="360" imgH="360" progId="">
                  <p:embed/>
                </p:oleObj>
              </mc:Choice>
              <mc:Fallback>
                <p:oleObj name="think-cell Folie" r:id="rId2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60001" y="288000"/>
            <a:ext cx="9359999" cy="588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60000" y="1620000"/>
            <a:ext cx="9360000" cy="489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8445500" y="6980111"/>
            <a:ext cx="897210" cy="353089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dd.mm.yyyy</a:t>
            </a:r>
            <a:endParaRPr lang="en-US">
              <a:solidFill>
                <a:srgbClr val="4B4B4B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407166" y="6980111"/>
            <a:ext cx="319447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>
              <a:solidFill>
                <a:srgbClr val="4B4B4B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816351" y="6980111"/>
            <a:ext cx="4539600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dirty="0" smtClean="0">
                <a:solidFill>
                  <a:srgbClr val="4B4B4B"/>
                </a:solidFill>
              </a:rPr>
              <a:t>– Strictly confidential, Confidential, Internal–     Author /Presentation Topic</a:t>
            </a:r>
          </a:p>
        </p:txBody>
      </p:sp>
      <p:pic>
        <p:nvPicPr>
          <p:cNvPr id="31" name="Grafik 30" descr="T_Logo_3c_Slogan_p_INT.emf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360000" y="6919200"/>
            <a:ext cx="2773050" cy="41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45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  <p:sldLayoutId id="2147484009" r:id="rId5"/>
    <p:sldLayoutId id="2147484010" r:id="rId6"/>
    <p:sldLayoutId id="2147484011" r:id="rId7"/>
    <p:sldLayoutId id="2147484012" r:id="rId8"/>
    <p:sldLayoutId id="2147484013" r:id="rId9"/>
    <p:sldLayoutId id="2147484014" r:id="rId10"/>
    <p:sldLayoutId id="2147484015" r:id="rId11"/>
    <p:sldLayoutId id="2147484016" r:id="rId12"/>
    <p:sldLayoutId id="2147484017" r:id="rId13"/>
    <p:sldLayoutId id="2147484018" r:id="rId14"/>
    <p:sldLayoutId id="2147484019" r:id="rId15"/>
    <p:sldLayoutId id="2147484020" r:id="rId16"/>
    <p:sldLayoutId id="2147484021" r:id="rId17"/>
    <p:sldLayoutId id="2147484022" r:id="rId18"/>
    <p:sldLayoutId id="2147484023" r:id="rId19"/>
    <p:sldLayoutId id="2147484024" r:id="rId20"/>
    <p:sldLayoutId id="2147484025" r:id="rId21"/>
    <p:sldLayoutId id="2147484026" r:id="rId22"/>
    <p:sldLayoutId id="2147484027" r:id="rId23"/>
    <p:sldLayoutId id="2147484028" r:id="rId24"/>
    <p:sldLayoutId id="2147484029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7.png"/><Relationship Id="rId2" Type="http://schemas.openxmlformats.org/officeDocument/2006/relationships/tags" Target="../tags/tag60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.emf"/><Relationship Id="rId2" Type="http://schemas.openxmlformats.org/officeDocument/2006/relationships/tags" Target="../tags/tag69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8.emf"/><Relationship Id="rId11" Type="http://schemas.openxmlformats.org/officeDocument/2006/relationships/image" Target="../media/image58.png"/><Relationship Id="rId5" Type="http://schemas.openxmlformats.org/officeDocument/2006/relationships/oleObject" Target="../embeddings/oleObject62.bin"/><Relationship Id="rId10" Type="http://schemas.openxmlformats.org/officeDocument/2006/relationships/image" Target="../media/image57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5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.emf"/><Relationship Id="rId2" Type="http://schemas.openxmlformats.org/officeDocument/2006/relationships/tags" Target="../tags/tag70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8.emf"/><Relationship Id="rId11" Type="http://schemas.openxmlformats.org/officeDocument/2006/relationships/image" Target="../media/image61.png"/><Relationship Id="rId5" Type="http://schemas.openxmlformats.org/officeDocument/2006/relationships/oleObject" Target="../embeddings/oleObject63.bin"/><Relationship Id="rId10" Type="http://schemas.openxmlformats.org/officeDocument/2006/relationships/image" Target="../media/image60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5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6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.emf"/><Relationship Id="rId12" Type="http://schemas.openxmlformats.org/officeDocument/2006/relationships/image" Target="../media/image65.png"/><Relationship Id="rId2" Type="http://schemas.openxmlformats.org/officeDocument/2006/relationships/tags" Target="../tags/tag71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8.emf"/><Relationship Id="rId11" Type="http://schemas.openxmlformats.org/officeDocument/2006/relationships/image" Target="../media/image64.png"/><Relationship Id="rId5" Type="http://schemas.openxmlformats.org/officeDocument/2006/relationships/oleObject" Target="../embeddings/oleObject64.bin"/><Relationship Id="rId15" Type="http://schemas.microsoft.com/office/2007/relationships/hdphoto" Target="../media/hdphoto1.wdp"/><Relationship Id="rId10" Type="http://schemas.openxmlformats.org/officeDocument/2006/relationships/image" Target="../media/image63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62.png"/><Relationship Id="rId14" Type="http://schemas.openxmlformats.org/officeDocument/2006/relationships/image" Target="../media/image6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.emf"/><Relationship Id="rId2" Type="http://schemas.openxmlformats.org/officeDocument/2006/relationships/tags" Target="../tags/tag72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6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.emf"/><Relationship Id="rId2" Type="http://schemas.openxmlformats.org/officeDocument/2006/relationships/tags" Target="../tags/tag73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.emf"/><Relationship Id="rId2" Type="http://schemas.openxmlformats.org/officeDocument/2006/relationships/tags" Target="../tags/tag74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24.jpeg"/><Relationship Id="rId18" Type="http://schemas.openxmlformats.org/officeDocument/2006/relationships/image" Target="../media/image29.jpeg"/><Relationship Id="rId3" Type="http://schemas.openxmlformats.org/officeDocument/2006/relationships/slideLayout" Target="../slideLayouts/slideLayout25.xml"/><Relationship Id="rId21" Type="http://schemas.openxmlformats.org/officeDocument/2006/relationships/image" Target="../media/image32.png"/><Relationship Id="rId7" Type="http://schemas.openxmlformats.org/officeDocument/2006/relationships/image" Target="../media/image3.emf"/><Relationship Id="rId12" Type="http://schemas.openxmlformats.org/officeDocument/2006/relationships/image" Target="../media/image23.jpeg"/><Relationship Id="rId17" Type="http://schemas.openxmlformats.org/officeDocument/2006/relationships/image" Target="../media/image28.jpeg"/><Relationship Id="rId2" Type="http://schemas.openxmlformats.org/officeDocument/2006/relationships/tags" Target="../tags/tag61.xml"/><Relationship Id="rId16" Type="http://schemas.openxmlformats.org/officeDocument/2006/relationships/image" Target="../media/image27.jpeg"/><Relationship Id="rId20" Type="http://schemas.openxmlformats.org/officeDocument/2006/relationships/image" Target="../media/image31.jpeg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8.emf"/><Relationship Id="rId11" Type="http://schemas.openxmlformats.org/officeDocument/2006/relationships/image" Target="../media/image22.jpeg"/><Relationship Id="rId24" Type="http://schemas.openxmlformats.org/officeDocument/2006/relationships/image" Target="../media/image35.png"/><Relationship Id="rId5" Type="http://schemas.openxmlformats.org/officeDocument/2006/relationships/oleObject" Target="../embeddings/oleObject54.bin"/><Relationship Id="rId15" Type="http://schemas.openxmlformats.org/officeDocument/2006/relationships/image" Target="../media/image26.jpeg"/><Relationship Id="rId23" Type="http://schemas.openxmlformats.org/officeDocument/2006/relationships/image" Target="../media/image34.jpeg"/><Relationship Id="rId10" Type="http://schemas.openxmlformats.org/officeDocument/2006/relationships/image" Target="../media/image21.jpeg"/><Relationship Id="rId19" Type="http://schemas.openxmlformats.org/officeDocument/2006/relationships/image" Target="../media/image30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0.jpeg"/><Relationship Id="rId14" Type="http://schemas.openxmlformats.org/officeDocument/2006/relationships/image" Target="../media/image25.jpeg"/><Relationship Id="rId22" Type="http://schemas.openxmlformats.org/officeDocument/2006/relationships/image" Target="../media/image33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.emf"/><Relationship Id="rId2" Type="http://schemas.openxmlformats.org/officeDocument/2006/relationships/tags" Target="../tags/tag62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5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37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.emf"/><Relationship Id="rId2" Type="http://schemas.openxmlformats.org/officeDocument/2006/relationships/tags" Target="../tags/tag63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8.emf"/><Relationship Id="rId11" Type="http://schemas.openxmlformats.org/officeDocument/2006/relationships/image" Target="../media/image40.png"/><Relationship Id="rId5" Type="http://schemas.openxmlformats.org/officeDocument/2006/relationships/oleObject" Target="../embeddings/oleObject56.bin"/><Relationship Id="rId10" Type="http://schemas.openxmlformats.org/officeDocument/2006/relationships/image" Target="../media/image39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5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.emf"/><Relationship Id="rId12" Type="http://schemas.openxmlformats.org/officeDocument/2006/relationships/image" Target="../media/image44.png"/><Relationship Id="rId2" Type="http://schemas.openxmlformats.org/officeDocument/2006/relationships/tags" Target="../tags/tag64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8.emf"/><Relationship Id="rId11" Type="http://schemas.openxmlformats.org/officeDocument/2006/relationships/image" Target="../media/image43.png"/><Relationship Id="rId5" Type="http://schemas.openxmlformats.org/officeDocument/2006/relationships/oleObject" Target="../embeddings/oleObject57.bin"/><Relationship Id="rId10" Type="http://schemas.openxmlformats.org/officeDocument/2006/relationships/image" Target="../media/image42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4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.emf"/><Relationship Id="rId12" Type="http://schemas.openxmlformats.org/officeDocument/2006/relationships/image" Target="../media/image49.png"/><Relationship Id="rId2" Type="http://schemas.openxmlformats.org/officeDocument/2006/relationships/tags" Target="../tags/tag65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8.emf"/><Relationship Id="rId11" Type="http://schemas.openxmlformats.org/officeDocument/2006/relationships/image" Target="../media/image48.png"/><Relationship Id="rId5" Type="http://schemas.openxmlformats.org/officeDocument/2006/relationships/oleObject" Target="../embeddings/oleObject58.bin"/><Relationship Id="rId10" Type="http://schemas.openxmlformats.org/officeDocument/2006/relationships/image" Target="../media/image47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4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.emf"/><Relationship Id="rId2" Type="http://schemas.openxmlformats.org/officeDocument/2006/relationships/tags" Target="../tags/tag66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9.bin"/><Relationship Id="rId10" Type="http://schemas.openxmlformats.org/officeDocument/2006/relationships/image" Target="../media/image51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5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.emf"/><Relationship Id="rId2" Type="http://schemas.openxmlformats.org/officeDocument/2006/relationships/tags" Target="../tags/tag67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0.bin"/><Relationship Id="rId10" Type="http://schemas.openxmlformats.org/officeDocument/2006/relationships/image" Target="../media/image53.jpe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52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50.xml"/><Relationship Id="rId7" Type="http://schemas.openxmlformats.org/officeDocument/2006/relationships/image" Target="../media/image3.emf"/><Relationship Id="rId2" Type="http://schemas.openxmlformats.org/officeDocument/2006/relationships/tags" Target="../tags/tag68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1.bin"/><Relationship Id="rId10" Type="http://schemas.openxmlformats.org/officeDocument/2006/relationships/image" Target="../media/image55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5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062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361950" y="3734323"/>
            <a:ext cx="7980841" cy="1329595"/>
          </a:xfrm>
        </p:spPr>
        <p:txBody>
          <a:bodyPr/>
          <a:lstStyle/>
          <a:p>
            <a:r>
              <a:rPr lang="en-US" sz="4800" dirty="0" smtClean="0"/>
              <a:t/>
            </a:r>
            <a:br>
              <a:rPr lang="en-US" sz="4800" dirty="0" smtClean="0"/>
            </a:br>
            <a:endParaRPr lang="en-US" sz="4800" dirty="0">
              <a:latin typeface="TeleGrotesk Headline" pitchFamily="2" charset="0"/>
            </a:endParaRPr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2594741" y="3878396"/>
            <a:ext cx="5253859" cy="1152239"/>
          </a:xfrm>
        </p:spPr>
        <p:txBody>
          <a:bodyPr/>
          <a:lstStyle/>
          <a:p>
            <a:r>
              <a:rPr lang="ru-RU" dirty="0" smtClean="0">
                <a:solidFill>
                  <a:srgbClr val="00FFFF"/>
                </a:solidFill>
              </a:rPr>
              <a:t>Статика </a:t>
            </a:r>
            <a:r>
              <a:rPr lang="de-DE" dirty="0" err="1" smtClean="0">
                <a:solidFill>
                  <a:srgbClr val="00FFFF"/>
                </a:solidFill>
              </a:rPr>
              <a:t>vs</a:t>
            </a:r>
            <a:r>
              <a:rPr lang="de-DE" dirty="0" smtClean="0">
                <a:solidFill>
                  <a:srgbClr val="00FFFF"/>
                </a:solidFill>
              </a:rPr>
              <a:t> </a:t>
            </a:r>
            <a:r>
              <a:rPr lang="ru-RU" dirty="0" smtClean="0">
                <a:solidFill>
                  <a:srgbClr val="00FFFF"/>
                </a:solidFill>
              </a:rPr>
              <a:t>Динамика.</a:t>
            </a:r>
          </a:p>
          <a:p>
            <a:r>
              <a:rPr lang="de-DE" dirty="0" smtClean="0">
                <a:solidFill>
                  <a:srgbClr val="00FFFF"/>
                </a:solidFill>
              </a:rPr>
              <a:t>REV</a:t>
            </a:r>
            <a:r>
              <a:rPr lang="ru-RU" dirty="0" err="1" smtClean="0">
                <a:solidFill>
                  <a:srgbClr val="00FFFF"/>
                </a:solidFill>
              </a:rPr>
              <a:t>олюционные</a:t>
            </a:r>
            <a:r>
              <a:rPr lang="ru-RU" dirty="0" smtClean="0">
                <a:solidFill>
                  <a:srgbClr val="00FFFF"/>
                </a:solidFill>
              </a:rPr>
              <a:t> изменения в команде тестирования</a:t>
            </a:r>
            <a:endParaRPr lang="en-US" dirty="0">
              <a:solidFill>
                <a:srgbClr val="00FFFF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0191" y="3878396"/>
            <a:ext cx="1963793" cy="2060230"/>
          </a:xfrm>
          <a:prstGeom prst="rect">
            <a:avLst/>
          </a:prstGeom>
        </p:spPr>
      </p:pic>
      <p:sp>
        <p:nvSpPr>
          <p:cNvPr id="7" name="Untertitel 9"/>
          <p:cNvSpPr txBox="1">
            <a:spLocks/>
          </p:cNvSpPr>
          <p:nvPr/>
        </p:nvSpPr>
        <p:spPr bwMode="gray">
          <a:xfrm>
            <a:off x="2661415" y="5330511"/>
            <a:ext cx="5253859" cy="608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4399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400" kern="1200" smtClean="0">
                <a:solidFill>
                  <a:schemeClr val="bg1"/>
                </a:solidFill>
                <a:latin typeface="Tele-GroteskNor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Олеся Серегина, Елена Светлова</a:t>
            </a:r>
          </a:p>
          <a:p>
            <a:r>
              <a:rPr lang="de-DE" sz="1400" dirty="0" smtClean="0"/>
              <a:t>T-Systems RUS, </a:t>
            </a:r>
            <a:r>
              <a:rPr lang="ru-RU" sz="1400" dirty="0" smtClean="0"/>
              <a:t>Санкт-Петербург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59256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90" y="947280"/>
          <a:ext cx="1388" cy="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192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947280"/>
                        <a:ext cx="1388" cy="1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180" name="Picture 5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90" y="947281"/>
            <a:ext cx="2778" cy="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10</a:t>
            </a:fld>
            <a:endParaRPr lang="de-DE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169" y="0"/>
            <a:ext cx="10076456" cy="674914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8" tIns="45714" rIns="91428" bIns="45714" anchor="ctr"/>
          <a:lstStyle/>
          <a:p>
            <a:pPr algn="ctr" defTabSz="457142" fontAlgn="base"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FFFFFF"/>
              </a:solidFill>
              <a:cs typeface="Arial Unicode MS" pitchFamily="34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b="1" dirty="0" smtClean="0">
                <a:solidFill>
                  <a:schemeClr val="bg1"/>
                </a:solidFill>
              </a:rPr>
              <a:t>People</a:t>
            </a:r>
            <a:r>
              <a:rPr lang="de-DE" sz="4000" b="1" dirty="0" smtClean="0">
                <a:solidFill>
                  <a:schemeClr val="bg1"/>
                </a:solidFill>
              </a:rPr>
              <a:t> </a:t>
            </a:r>
            <a:r>
              <a:rPr lang="en-US" sz="4000" b="1" dirty="0" smtClean="0">
                <a:solidFill>
                  <a:schemeClr val="bg1"/>
                </a:solidFill>
              </a:rPr>
              <a:t>Management</a:t>
            </a:r>
            <a:endParaRPr lang="ru-RU" sz="4000" b="1" dirty="0">
              <a:solidFill>
                <a:schemeClr val="bg1"/>
              </a:solidFill>
            </a:endParaRPr>
          </a:p>
        </p:txBody>
      </p:sp>
      <p:pic>
        <p:nvPicPr>
          <p:cNvPr id="702467" name="Picture 3" descr="C:\Users\kea1\Desktop\f3tiu4zw38165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1849" y="6980111"/>
            <a:ext cx="701041" cy="405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Inhaltsplatzhalter 6"/>
          <p:cNvSpPr txBox="1">
            <a:spLocks/>
          </p:cNvSpPr>
          <p:nvPr/>
        </p:nvSpPr>
        <p:spPr bwMode="gray">
          <a:xfrm>
            <a:off x="360000" y="882122"/>
            <a:ext cx="9360000" cy="1784877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0" indent="-45720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 startAt="3"/>
            </a:pPr>
            <a:r>
              <a:rPr lang="ru-RU" sz="2300" dirty="0">
                <a:latin typeface="Tele-GroteskNor"/>
              </a:rPr>
              <a:t>Ротация ролей в </a:t>
            </a:r>
            <a:r>
              <a:rPr lang="ru-RU" sz="2300" dirty="0" smtClean="0">
                <a:latin typeface="Tele-GroteskNor"/>
              </a:rPr>
              <a:t>команде, </a:t>
            </a:r>
            <a:r>
              <a:rPr lang="ru-RU" sz="2300" dirty="0">
                <a:latin typeface="Tele-GroteskNor"/>
              </a:rPr>
              <a:t>ситуационное </a:t>
            </a:r>
            <a:r>
              <a:rPr lang="ru-RU" sz="2300" dirty="0" smtClean="0">
                <a:latin typeface="Tele-GroteskNor"/>
              </a:rPr>
              <a:t>руководство</a:t>
            </a:r>
          </a:p>
          <a:p>
            <a:pPr marL="457200" lvl="0" indent="-45720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 startAt="3"/>
            </a:pPr>
            <a:r>
              <a:rPr lang="en-US" sz="2300" dirty="0" smtClean="0">
                <a:latin typeface="Tele-GroteskNor"/>
              </a:rPr>
              <a:t>One </a:t>
            </a:r>
            <a:r>
              <a:rPr lang="en-US" sz="2300" dirty="0">
                <a:latin typeface="Tele-GroteskNor"/>
              </a:rPr>
              <a:t>to one </a:t>
            </a:r>
            <a:r>
              <a:rPr lang="en-US" sz="2300" dirty="0" smtClean="0">
                <a:latin typeface="Tele-GroteskNor"/>
              </a:rPr>
              <a:t>meetings</a:t>
            </a:r>
            <a:endParaRPr lang="ru-RU" sz="2300" dirty="0" smtClean="0">
              <a:latin typeface="Tele-GroteskNor"/>
            </a:endParaRPr>
          </a:p>
          <a:p>
            <a:pPr marL="457200" lvl="0" indent="-45720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 startAt="3"/>
            </a:pPr>
            <a:r>
              <a:rPr lang="ru-RU" sz="2300" dirty="0" smtClean="0">
                <a:latin typeface="Tele-GroteskNor"/>
              </a:rPr>
              <a:t>Составление </a:t>
            </a:r>
            <a:r>
              <a:rPr lang="ru-RU" sz="2300" dirty="0">
                <a:latin typeface="Tele-GroteskNor"/>
              </a:rPr>
              <a:t>индивидуального плана </a:t>
            </a:r>
            <a:r>
              <a:rPr lang="ru-RU" sz="2300" dirty="0" smtClean="0">
                <a:latin typeface="Tele-GroteskNor"/>
              </a:rPr>
              <a:t>развития</a:t>
            </a:r>
          </a:p>
          <a:p>
            <a:pPr marL="457200" lvl="0" indent="-45720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 startAt="3"/>
            </a:pPr>
            <a:r>
              <a:rPr lang="ru-RU" sz="2300" dirty="0" smtClean="0">
                <a:latin typeface="Tele-GroteskNor"/>
              </a:rPr>
              <a:t>Комфортные рабочие условия</a:t>
            </a:r>
            <a:endParaRPr lang="ru-RU" sz="2300" dirty="0">
              <a:latin typeface="Tele-GroteskNor"/>
            </a:endParaRPr>
          </a:p>
          <a:p>
            <a:pPr lvl="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</a:pPr>
            <a:endParaRPr lang="ru-RU" sz="1000" dirty="0">
              <a:latin typeface="Tele-GroteskNor"/>
            </a:endParaRPr>
          </a:p>
          <a:p>
            <a:pPr marL="361950" lvl="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</a:pPr>
            <a:endParaRPr lang="en-US" sz="2300" dirty="0">
              <a:latin typeface="Tele-GroteskNor"/>
            </a:endParaRPr>
          </a:p>
        </p:txBody>
      </p:sp>
      <p:pic>
        <p:nvPicPr>
          <p:cNvPr id="774156" name="Picture 1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2857" y="2972013"/>
            <a:ext cx="2907143" cy="349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Grafik 13"/>
          <p:cNvPicPr/>
          <p:nvPr/>
        </p:nvPicPr>
        <p:blipFill>
          <a:blip r:embed="rId10"/>
          <a:stretch>
            <a:fillRect/>
          </a:stretch>
        </p:blipFill>
        <p:spPr>
          <a:xfrm>
            <a:off x="3696975" y="3778887"/>
            <a:ext cx="2686050" cy="1895475"/>
          </a:xfrm>
          <a:prstGeom prst="rect">
            <a:avLst/>
          </a:prstGeom>
        </p:spPr>
      </p:pic>
      <p:pic>
        <p:nvPicPr>
          <p:cNvPr id="774160" name="Picture 1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000" y="2972013"/>
            <a:ext cx="2964317" cy="349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67427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90" y="947280"/>
          <a:ext cx="1388" cy="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215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947280"/>
                        <a:ext cx="1388" cy="1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180" name="Picture 5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90" y="947281"/>
            <a:ext cx="2778" cy="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11</a:t>
            </a:fld>
            <a:endParaRPr lang="de-DE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169" y="0"/>
            <a:ext cx="10076456" cy="674914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8" tIns="45714" rIns="91428" bIns="45714" anchor="ctr"/>
          <a:lstStyle/>
          <a:p>
            <a:pPr algn="ctr" defTabSz="457142" fontAlgn="base"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FFFFFF"/>
              </a:solidFill>
              <a:cs typeface="Arial Unicode MS" pitchFamily="34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b="1" dirty="0" err="1">
                <a:solidFill>
                  <a:schemeClr val="bg1"/>
                </a:solidFill>
              </a:rPr>
              <a:t>P</a:t>
            </a:r>
            <a:r>
              <a:rPr lang="en-US" sz="4000" b="1" dirty="0" err="1" smtClean="0">
                <a:solidFill>
                  <a:schemeClr val="bg1"/>
                </a:solidFill>
              </a:rPr>
              <a:t>e</a:t>
            </a:r>
            <a:r>
              <a:rPr lang="de-DE" sz="4000" b="1" dirty="0" err="1" smtClean="0">
                <a:solidFill>
                  <a:schemeClr val="bg1"/>
                </a:solidFill>
              </a:rPr>
              <a:t>ople</a:t>
            </a:r>
            <a:r>
              <a:rPr lang="de-DE" sz="4000" b="1" dirty="0">
                <a:solidFill>
                  <a:schemeClr val="bg1"/>
                </a:solidFill>
              </a:rPr>
              <a:t> </a:t>
            </a:r>
            <a:r>
              <a:rPr lang="en-US" sz="4000" b="1" dirty="0" smtClean="0">
                <a:solidFill>
                  <a:schemeClr val="bg1"/>
                </a:solidFill>
              </a:rPr>
              <a:t>Management</a:t>
            </a:r>
            <a:endParaRPr lang="ru-RU" sz="4000" b="1" dirty="0">
              <a:solidFill>
                <a:schemeClr val="bg1"/>
              </a:solidFill>
            </a:endParaRPr>
          </a:p>
        </p:txBody>
      </p:sp>
      <p:pic>
        <p:nvPicPr>
          <p:cNvPr id="702467" name="Picture 3" descr="C:\Users\kea1\Desktop\f3tiu4zw38165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1849" y="6980111"/>
            <a:ext cx="701041" cy="405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Inhaltsplatzhalter 6"/>
          <p:cNvSpPr txBox="1">
            <a:spLocks/>
          </p:cNvSpPr>
          <p:nvPr/>
        </p:nvSpPr>
        <p:spPr bwMode="gray">
          <a:xfrm>
            <a:off x="360000" y="882122"/>
            <a:ext cx="9360000" cy="380417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</a:pPr>
            <a:r>
              <a:rPr lang="ru-RU" sz="2300" b="1" dirty="0">
                <a:latin typeface="Tele-GroteskNor"/>
              </a:rPr>
              <a:t>Профессиональное развитие</a:t>
            </a:r>
            <a:endParaRPr lang="de-DE" sz="2300" dirty="0">
              <a:latin typeface="Tele-GroteskNor"/>
            </a:endParaRPr>
          </a:p>
          <a:p>
            <a:pPr marL="457200" lvl="0" indent="-45720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 startAt="7"/>
            </a:pPr>
            <a:r>
              <a:rPr lang="ru-RU" sz="2300" dirty="0">
                <a:latin typeface="Tele-GroteskNor"/>
              </a:rPr>
              <a:t>Четкое разделение команды по проектным темам при поддержке общей компетенции</a:t>
            </a:r>
          </a:p>
          <a:p>
            <a:pPr marL="457200" lvl="0" indent="-45720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 startAt="7"/>
            </a:pPr>
            <a:r>
              <a:rPr lang="ru-RU" sz="2300" dirty="0">
                <a:latin typeface="Tele-GroteskNor"/>
              </a:rPr>
              <a:t>Выделение ресурса на обучения </a:t>
            </a:r>
            <a:endParaRPr lang="de-DE" sz="2300" dirty="0" smtClean="0">
              <a:latin typeface="Tele-GroteskNor"/>
            </a:endParaRPr>
          </a:p>
          <a:p>
            <a:pPr lvl="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</a:pPr>
            <a:endParaRPr lang="de-DE" sz="2300" b="1" dirty="0">
              <a:latin typeface="Tele-GroteskNor"/>
            </a:endParaRPr>
          </a:p>
          <a:p>
            <a:pPr lvl="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</a:pPr>
            <a:r>
              <a:rPr lang="ru-RU" sz="2300" b="1" dirty="0" smtClean="0">
                <a:latin typeface="Tele-GroteskNor"/>
              </a:rPr>
              <a:t>Повышения </a:t>
            </a:r>
            <a:r>
              <a:rPr lang="ru-RU" sz="2300" b="1" dirty="0">
                <a:latin typeface="Tele-GroteskNor"/>
              </a:rPr>
              <a:t>уровня ответственности и осознанности</a:t>
            </a:r>
            <a:endParaRPr lang="ru-RU" sz="2300" dirty="0">
              <a:latin typeface="Tele-GroteskNor"/>
            </a:endParaRPr>
          </a:p>
          <a:p>
            <a:pPr marL="457200" lvl="0" indent="-45720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 startAt="9"/>
            </a:pPr>
            <a:r>
              <a:rPr lang="ru-RU" sz="2300" dirty="0">
                <a:latin typeface="Tele-GroteskNor"/>
              </a:rPr>
              <a:t>«Сменяемость власти» </a:t>
            </a:r>
          </a:p>
          <a:p>
            <a:pPr marL="457200" lvl="0" indent="-45720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 startAt="9"/>
            </a:pPr>
            <a:r>
              <a:rPr lang="ru-RU" sz="2300" dirty="0">
                <a:latin typeface="Tele-GroteskNor"/>
              </a:rPr>
              <a:t>Делегирование важных и интересных задач</a:t>
            </a:r>
          </a:p>
          <a:p>
            <a:pPr marL="457200" lvl="0" indent="-45720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 startAt="9"/>
            </a:pPr>
            <a:r>
              <a:rPr lang="ru-RU" sz="2300" dirty="0">
                <a:latin typeface="Tele-GroteskNor"/>
              </a:rPr>
              <a:t>Тренинги для формирования </a:t>
            </a:r>
            <a:r>
              <a:rPr lang="ru-RU" sz="2300" dirty="0" err="1">
                <a:latin typeface="Tele-GroteskNor"/>
              </a:rPr>
              <a:t>проактивной</a:t>
            </a:r>
            <a:r>
              <a:rPr lang="ru-RU" sz="2300" dirty="0">
                <a:latin typeface="Tele-GroteskNor"/>
              </a:rPr>
              <a:t> </a:t>
            </a:r>
            <a:r>
              <a:rPr lang="ru-RU" sz="2300" dirty="0" smtClean="0">
                <a:latin typeface="Tele-GroteskNor"/>
              </a:rPr>
              <a:t>позиции</a:t>
            </a:r>
            <a:br>
              <a:rPr lang="ru-RU" sz="2300" dirty="0" smtClean="0">
                <a:latin typeface="Tele-GroteskNor"/>
              </a:rPr>
            </a:br>
            <a:r>
              <a:rPr lang="ru-RU" sz="2300" dirty="0" smtClean="0">
                <a:latin typeface="Tele-GroteskNor"/>
              </a:rPr>
              <a:t>(матрица Эйзенхауэра, колесо баланса жизни, закон синергии)</a:t>
            </a:r>
            <a:endParaRPr lang="ru-RU" sz="1000" dirty="0" smtClean="0">
              <a:latin typeface="Tele-GroteskNor"/>
            </a:endParaRPr>
          </a:p>
          <a:p>
            <a:pPr marL="361950" lvl="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</a:pPr>
            <a:endParaRPr lang="en-US" sz="2300" dirty="0">
              <a:latin typeface="Tele-GroteskNor"/>
            </a:endParaRPr>
          </a:p>
        </p:txBody>
      </p:sp>
      <p:pic>
        <p:nvPicPr>
          <p:cNvPr id="775186" name="Picture 18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400" y="4797231"/>
            <a:ext cx="1760900" cy="1745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5187" name="Picture 19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5772" y="4797230"/>
            <a:ext cx="2384128" cy="1735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75189" name="Picture 21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000" y="4821157"/>
            <a:ext cx="3039800" cy="1702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05784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90" y="947280"/>
          <a:ext cx="1388" cy="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424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947280"/>
                        <a:ext cx="1388" cy="1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180" name="Picture 5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90" y="947281"/>
            <a:ext cx="2778" cy="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12</a:t>
            </a:fld>
            <a:endParaRPr lang="de-DE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169" y="0"/>
            <a:ext cx="10076456" cy="674914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8" tIns="45714" rIns="91428" bIns="45714" anchor="ctr"/>
          <a:lstStyle/>
          <a:p>
            <a:pPr algn="ctr" defTabSz="457142" fontAlgn="base"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FFFFFF"/>
              </a:solidFill>
              <a:cs typeface="Arial Unicode MS" pitchFamily="34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b="1" dirty="0">
                <a:solidFill>
                  <a:schemeClr val="bg1"/>
                </a:solidFill>
              </a:rPr>
              <a:t>People </a:t>
            </a:r>
            <a:r>
              <a:rPr lang="en-US" sz="4000" b="1" dirty="0" smtClean="0">
                <a:solidFill>
                  <a:schemeClr val="bg1"/>
                </a:solidFill>
              </a:rPr>
              <a:t>Management</a:t>
            </a:r>
            <a:endParaRPr lang="ru-RU" sz="4000" b="1" dirty="0">
              <a:solidFill>
                <a:schemeClr val="bg1"/>
              </a:solidFill>
            </a:endParaRPr>
          </a:p>
        </p:txBody>
      </p:sp>
      <p:pic>
        <p:nvPicPr>
          <p:cNvPr id="702467" name="Picture 3" descr="C:\Users\kea1\Desktop\f3tiu4zw38165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1849" y="6980111"/>
            <a:ext cx="701041" cy="405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6568" name="Picture 8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207" y="5004769"/>
            <a:ext cx="1572714" cy="1630428"/>
          </a:xfrm>
          <a:prstGeom prst="rect">
            <a:avLst/>
          </a:prstGeom>
          <a:noFill/>
          <a:ln>
            <a:noFill/>
          </a:ln>
          <a:effectLst>
            <a:outerShdw blurRad="50800" dist="50800" dir="5400000" algn="ctr" rotWithShape="0">
              <a:srgbClr val="000000">
                <a:alpha val="41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570" name="Picture 1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3724" y="5005273"/>
            <a:ext cx="1900095" cy="470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571" name="Picture 11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7452" y="5505850"/>
            <a:ext cx="1252638" cy="1129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572" name="Picture 1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3666" y="5063240"/>
            <a:ext cx="840153" cy="1571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573" name="Picture 1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1925" y="5062976"/>
            <a:ext cx="1502409" cy="1572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53387" y="1453742"/>
            <a:ext cx="9366612" cy="349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2" spcCol="36000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tabLst>
                <a:tab pos="3862388" algn="l"/>
              </a:tabLst>
            </a:pPr>
            <a:r>
              <a:rPr lang="ru-RU" sz="1800" b="1" dirty="0" smtClean="0"/>
              <a:t>        </a:t>
            </a:r>
            <a:endParaRPr lang="ru-RU" sz="1800" dirty="0" smtClean="0"/>
          </a:p>
        </p:txBody>
      </p:sp>
      <p:sp>
        <p:nvSpPr>
          <p:cNvPr id="16" name="Inhaltsplatzhalter 6"/>
          <p:cNvSpPr txBox="1">
            <a:spLocks/>
          </p:cNvSpPr>
          <p:nvPr/>
        </p:nvSpPr>
        <p:spPr bwMode="gray">
          <a:xfrm>
            <a:off x="360000" y="882123"/>
            <a:ext cx="9360000" cy="4028376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0" indent="-45720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 startAt="12"/>
            </a:pPr>
            <a:r>
              <a:rPr lang="ru-RU" sz="2300" dirty="0" smtClean="0">
                <a:latin typeface="Tele-GroteskNor"/>
              </a:rPr>
              <a:t>Практика </a:t>
            </a:r>
            <a:r>
              <a:rPr lang="ru-RU" sz="2300" dirty="0" err="1">
                <a:latin typeface="Tele-GroteskNor"/>
              </a:rPr>
              <a:t>mindfulness</a:t>
            </a:r>
            <a:endParaRPr lang="ru-RU" sz="2300" dirty="0">
              <a:latin typeface="Tele-GroteskNor"/>
            </a:endParaRPr>
          </a:p>
          <a:p>
            <a:pPr marL="457200" lvl="0" indent="-45720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 startAt="7"/>
            </a:pPr>
            <a:endParaRPr lang="ru-RU" sz="2300" dirty="0" smtClean="0">
              <a:latin typeface="Tele-GroteskNor"/>
            </a:endParaRPr>
          </a:p>
          <a:p>
            <a:pPr marL="361950" lvl="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</a:pPr>
            <a:endParaRPr lang="en-US" sz="2300" dirty="0">
              <a:latin typeface="Tele-GroteskNor"/>
            </a:endParaRPr>
          </a:p>
        </p:txBody>
      </p:sp>
      <p:pic>
        <p:nvPicPr>
          <p:cNvPr id="21" name="Grafik 20"/>
          <p:cNvPicPr/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785561" y="3026563"/>
            <a:ext cx="1973100" cy="1026216"/>
          </a:xfrm>
          <a:prstGeom prst="rect">
            <a:avLst/>
          </a:prstGeom>
        </p:spPr>
      </p:pic>
      <p:sp>
        <p:nvSpPr>
          <p:cNvPr id="17" name="TextBox 5"/>
          <p:cNvSpPr txBox="1"/>
          <p:nvPr/>
        </p:nvSpPr>
        <p:spPr>
          <a:xfrm>
            <a:off x="360001" y="1459684"/>
            <a:ext cx="9384074" cy="3304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2" spcCol="36000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tabLst>
                <a:tab pos="3862388" algn="l"/>
              </a:tabLst>
            </a:pPr>
            <a:r>
              <a:rPr lang="ru-RU" b="1" dirty="0" smtClean="0"/>
              <a:t>                     Менеджмент</a:t>
            </a:r>
            <a:r>
              <a:rPr lang="ru-RU" dirty="0"/>
              <a:t>: </a:t>
            </a:r>
          </a:p>
          <a:p>
            <a:pPr marL="450850" indent="-273050">
              <a:buFont typeface="Arial" panose="020B0604020202020204" pitchFamily="34" charset="0"/>
              <a:buChar char="•"/>
              <a:tabLst>
                <a:tab pos="3862388" algn="l"/>
              </a:tabLst>
            </a:pPr>
            <a:r>
              <a:rPr lang="ru-RU" dirty="0"/>
              <a:t>Отключение «автопилота»</a:t>
            </a:r>
          </a:p>
          <a:p>
            <a:pPr marL="450850" indent="-273050">
              <a:buFont typeface="Arial" panose="020B0604020202020204" pitchFamily="34" charset="0"/>
              <a:buChar char="•"/>
              <a:tabLst>
                <a:tab pos="3862388" algn="l"/>
              </a:tabLst>
            </a:pPr>
            <a:r>
              <a:rPr lang="ru-RU" dirty="0"/>
              <a:t>Осознанное слушание</a:t>
            </a:r>
          </a:p>
          <a:p>
            <a:pPr marL="450850" indent="-273050">
              <a:buFont typeface="Arial" panose="020B0604020202020204" pitchFamily="34" charset="0"/>
              <a:buChar char="•"/>
              <a:tabLst>
                <a:tab pos="3862388" algn="l"/>
              </a:tabLst>
            </a:pPr>
            <a:r>
              <a:rPr lang="ru-RU" dirty="0"/>
              <a:t>Переключение рабочего режима</a:t>
            </a:r>
          </a:p>
          <a:p>
            <a:pPr>
              <a:tabLst>
                <a:tab pos="3944938" algn="l"/>
              </a:tabLst>
            </a:pPr>
            <a:endParaRPr lang="ru-RU" sz="1800" dirty="0" smtClean="0"/>
          </a:p>
          <a:p>
            <a:pPr>
              <a:tabLst>
                <a:tab pos="3944938" algn="l"/>
              </a:tabLst>
            </a:pPr>
            <a:r>
              <a:rPr lang="ru-RU" sz="1800" dirty="0" smtClean="0"/>
              <a:t> </a:t>
            </a:r>
          </a:p>
          <a:p>
            <a:pPr>
              <a:tabLst>
                <a:tab pos="3944938" algn="l"/>
              </a:tabLst>
            </a:pPr>
            <a:endParaRPr lang="ru-RU" sz="1800" dirty="0"/>
          </a:p>
          <a:p>
            <a:endParaRPr lang="ru-RU" sz="1800" dirty="0" smtClean="0"/>
          </a:p>
          <a:p>
            <a:pPr algn="ctr"/>
            <a:endParaRPr lang="en-US" b="1" dirty="0" smtClean="0"/>
          </a:p>
          <a:p>
            <a:pPr algn="ctr"/>
            <a:endParaRPr lang="en-US" b="1" dirty="0" smtClean="0"/>
          </a:p>
          <a:p>
            <a:pPr algn="ctr"/>
            <a:r>
              <a:rPr lang="ru-RU" b="1" dirty="0" smtClean="0"/>
              <a:t>Личная </a:t>
            </a:r>
            <a:r>
              <a:rPr lang="ru-RU" b="1" dirty="0"/>
              <a:t>работа</a:t>
            </a:r>
            <a:r>
              <a:rPr lang="ru-RU" dirty="0"/>
              <a:t>: </a:t>
            </a: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Дыхательная гимнастик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Правильное </a:t>
            </a:r>
            <a:r>
              <a:rPr lang="ru-RU" dirty="0"/>
              <a:t>положение за </a:t>
            </a:r>
            <a:r>
              <a:rPr lang="ru-RU" dirty="0" smtClean="0"/>
              <a:t>столо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Смена интеллектуальной активности на </a:t>
            </a:r>
            <a:r>
              <a:rPr lang="ru-RU" dirty="0" smtClean="0"/>
              <a:t>физическую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Оставлять </a:t>
            </a:r>
            <a:r>
              <a:rPr lang="ru-RU" dirty="0"/>
              <a:t>работу на </a:t>
            </a:r>
            <a:r>
              <a:rPr lang="ru-RU" dirty="0" smtClean="0"/>
              <a:t>работ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Приложения </a:t>
            </a:r>
            <a:r>
              <a:rPr lang="ru-RU" dirty="0"/>
              <a:t>типа </a:t>
            </a:r>
            <a:r>
              <a:rPr lang="en-US" dirty="0" err="1"/>
              <a:t>S</a:t>
            </a:r>
            <a:r>
              <a:rPr lang="ru-RU" dirty="0" err="1" smtClean="0"/>
              <a:t>tay</a:t>
            </a:r>
            <a:r>
              <a:rPr lang="en-US" dirty="0" smtClean="0"/>
              <a:t>F</a:t>
            </a:r>
            <a:r>
              <a:rPr lang="ru-RU" dirty="0" err="1" smtClean="0"/>
              <a:t>ocusd</a:t>
            </a:r>
            <a:r>
              <a:rPr lang="ru-RU" dirty="0" smtClean="0"/>
              <a:t> </a:t>
            </a:r>
            <a:r>
              <a:rPr lang="ru-RU" dirty="0"/>
              <a:t>для браузеров и </a:t>
            </a:r>
            <a:r>
              <a:rPr lang="en-US" dirty="0"/>
              <a:t>F</a:t>
            </a:r>
            <a:r>
              <a:rPr lang="ru-RU" dirty="0" err="1" smtClean="0"/>
              <a:t>orest</a:t>
            </a:r>
            <a:r>
              <a:rPr lang="en-US" dirty="0" smtClean="0"/>
              <a:t>, </a:t>
            </a:r>
            <a:r>
              <a:rPr lang="en-US" dirty="0" err="1" smtClean="0"/>
              <a:t>Atracker</a:t>
            </a:r>
            <a:r>
              <a:rPr lang="ru-RU" dirty="0" smtClean="0"/>
              <a:t> </a:t>
            </a:r>
            <a:r>
              <a:rPr lang="ru-RU" dirty="0"/>
              <a:t>для </a:t>
            </a:r>
            <a:r>
              <a:rPr lang="ru-RU" dirty="0" smtClean="0"/>
              <a:t>смартфонов </a:t>
            </a:r>
          </a:p>
        </p:txBody>
      </p:sp>
    </p:spTree>
    <p:extLst>
      <p:ext uri="{BB962C8B-B14F-4D97-AF65-F5344CB8AC3E}">
        <p14:creationId xmlns:p14="http://schemas.microsoft.com/office/powerpoint/2010/main" val="4180505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90" y="947280"/>
          <a:ext cx="1388" cy="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230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947280"/>
                        <a:ext cx="1388" cy="1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180" name="Picture 5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90" y="947281"/>
            <a:ext cx="2778" cy="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13</a:t>
            </a:fld>
            <a:endParaRPr lang="de-DE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169" y="24555"/>
            <a:ext cx="10076456" cy="674914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8" tIns="45714" rIns="91428" bIns="45714" anchor="ctr"/>
          <a:lstStyle/>
          <a:p>
            <a:pPr algn="ctr" defTabSz="457142" fontAlgn="base"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FFFFFF"/>
              </a:solidFill>
              <a:cs typeface="Arial Unicode MS" pitchFamily="34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0000" y="294040"/>
            <a:ext cx="9360000" cy="1166459"/>
          </a:xfrm>
        </p:spPr>
        <p:txBody>
          <a:bodyPr/>
          <a:lstStyle/>
          <a:p>
            <a:pPr algn="ctr"/>
            <a:r>
              <a:rPr lang="de-DE" sz="4000" b="1" dirty="0" err="1" smtClean="0">
                <a:solidFill>
                  <a:srgbClr val="00FFFF"/>
                </a:solidFill>
                <a:sym typeface="Wingdings" panose="05000000000000000000" pitchFamily="2" charset="2"/>
              </a:rPr>
              <a:t>R</a:t>
            </a:r>
            <a:r>
              <a:rPr lang="de-DE" sz="4000" b="1" dirty="0" err="1" smtClean="0">
                <a:solidFill>
                  <a:schemeClr val="bg1"/>
                </a:solidFill>
                <a:sym typeface="Wingdings" panose="05000000000000000000" pitchFamily="2" charset="2"/>
              </a:rPr>
              <a:t>eliable</a:t>
            </a:r>
            <a:r>
              <a:rPr lang="de-DE" sz="4000" b="1" dirty="0" smtClean="0">
                <a:solidFill>
                  <a:schemeClr val="bg1"/>
                </a:solidFill>
                <a:sym typeface="Wingdings" panose="05000000000000000000" pitchFamily="2" charset="2"/>
              </a:rPr>
              <a:t> </a:t>
            </a:r>
            <a:r>
              <a:rPr lang="de-DE" sz="4000" b="1" dirty="0" smtClean="0">
                <a:solidFill>
                  <a:srgbClr val="00FFFF"/>
                </a:solidFill>
                <a:sym typeface="Wingdings" panose="05000000000000000000" pitchFamily="2" charset="2"/>
              </a:rPr>
              <a:t>E</a:t>
            </a:r>
            <a:r>
              <a:rPr lang="de-DE" sz="4000" b="1" dirty="0" smtClean="0">
                <a:solidFill>
                  <a:schemeClr val="bg1"/>
                </a:solidFill>
                <a:sym typeface="Wingdings" panose="05000000000000000000" pitchFamily="2" charset="2"/>
              </a:rPr>
              <a:t>asy </a:t>
            </a:r>
            <a:r>
              <a:rPr lang="de-DE" sz="4000" b="1" dirty="0" smtClean="0">
                <a:solidFill>
                  <a:srgbClr val="00FFFF"/>
                </a:solidFill>
                <a:sym typeface="Wingdings" panose="05000000000000000000" pitchFamily="2" charset="2"/>
              </a:rPr>
              <a:t>V</a:t>
            </a:r>
            <a:r>
              <a:rPr lang="de-DE" sz="4000" b="1" dirty="0" smtClean="0">
                <a:solidFill>
                  <a:schemeClr val="bg1"/>
                </a:solidFill>
                <a:sym typeface="Wingdings" panose="05000000000000000000" pitchFamily="2" charset="2"/>
              </a:rPr>
              <a:t>ersatile </a:t>
            </a:r>
            <a:r>
              <a:rPr lang="de-DE" sz="4000" b="1" dirty="0" err="1" smtClean="0">
                <a:solidFill>
                  <a:schemeClr val="bg1"/>
                </a:solidFill>
                <a:sym typeface="Wingdings" panose="05000000000000000000" pitchFamily="2" charset="2"/>
              </a:rPr>
              <a:t>techniques</a:t>
            </a:r>
            <a:endParaRPr lang="ru-RU" sz="4000" b="1" dirty="0">
              <a:solidFill>
                <a:schemeClr val="bg1"/>
              </a:solidFill>
            </a:endParaRPr>
          </a:p>
        </p:txBody>
      </p:sp>
      <p:pic>
        <p:nvPicPr>
          <p:cNvPr id="702467" name="Picture 3" descr="C:\Users\kea1\Desktop\f3tiu4zw38165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1849" y="6980111"/>
            <a:ext cx="701041" cy="405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 71"/>
          <p:cNvSpPr>
            <a:spLocks/>
          </p:cNvSpPr>
          <p:nvPr/>
        </p:nvSpPr>
        <p:spPr bwMode="auto">
          <a:xfrm>
            <a:off x="4057388" y="2265750"/>
            <a:ext cx="1175656" cy="311113"/>
          </a:xfrm>
          <a:custGeom>
            <a:avLst/>
            <a:gdLst>
              <a:gd name="T0" fmla="*/ 560 w 747"/>
              <a:gd name="T1" fmla="*/ 0 h 374"/>
              <a:gd name="T2" fmla="*/ 560 w 747"/>
              <a:gd name="T3" fmla="*/ 134 h 374"/>
              <a:gd name="T4" fmla="*/ 54 w 747"/>
              <a:gd name="T5" fmla="*/ 134 h 374"/>
              <a:gd name="T6" fmla="*/ 0 w 747"/>
              <a:gd name="T7" fmla="*/ 187 h 374"/>
              <a:gd name="T8" fmla="*/ 54 w 747"/>
              <a:gd name="T9" fmla="*/ 240 h 374"/>
              <a:gd name="T10" fmla="*/ 560 w 747"/>
              <a:gd name="T11" fmla="*/ 240 h 374"/>
              <a:gd name="T12" fmla="*/ 560 w 747"/>
              <a:gd name="T13" fmla="*/ 374 h 374"/>
              <a:gd name="T14" fmla="*/ 747 w 747"/>
              <a:gd name="T15" fmla="*/ 187 h 374"/>
              <a:gd name="T16" fmla="*/ 560 w 747"/>
              <a:gd name="T17" fmla="*/ 0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47" h="374">
                <a:moveTo>
                  <a:pt x="560" y="0"/>
                </a:moveTo>
                <a:cubicBezTo>
                  <a:pt x="560" y="134"/>
                  <a:pt x="560" y="134"/>
                  <a:pt x="560" y="134"/>
                </a:cubicBezTo>
                <a:cubicBezTo>
                  <a:pt x="54" y="134"/>
                  <a:pt x="54" y="134"/>
                  <a:pt x="54" y="134"/>
                </a:cubicBezTo>
                <a:cubicBezTo>
                  <a:pt x="24" y="134"/>
                  <a:pt x="0" y="158"/>
                  <a:pt x="0" y="187"/>
                </a:cubicBezTo>
                <a:cubicBezTo>
                  <a:pt x="0" y="216"/>
                  <a:pt x="24" y="240"/>
                  <a:pt x="54" y="240"/>
                </a:cubicBezTo>
                <a:cubicBezTo>
                  <a:pt x="560" y="240"/>
                  <a:pt x="560" y="240"/>
                  <a:pt x="560" y="240"/>
                </a:cubicBezTo>
                <a:cubicBezTo>
                  <a:pt x="560" y="374"/>
                  <a:pt x="560" y="374"/>
                  <a:pt x="560" y="374"/>
                </a:cubicBezTo>
                <a:cubicBezTo>
                  <a:pt x="747" y="187"/>
                  <a:pt x="747" y="187"/>
                  <a:pt x="747" y="187"/>
                </a:cubicBezTo>
                <a:cubicBezTo>
                  <a:pt x="560" y="0"/>
                  <a:pt x="560" y="0"/>
                  <a:pt x="560" y="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0001" tIns="40000" rIns="80001" bIns="40000" numCol="1" anchor="t" anchorCtr="0" compatLnSpc="1">
            <a:prstTxWarp prst="textNoShape">
              <a:avLst/>
            </a:prstTxWarp>
          </a:bodyPr>
          <a:lstStyle/>
          <a:p>
            <a:endParaRPr lang="de-DE" sz="2012" dirty="0"/>
          </a:p>
        </p:txBody>
      </p:sp>
      <p:pic>
        <p:nvPicPr>
          <p:cNvPr id="776204" name="Picture 1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8" y="1041400"/>
            <a:ext cx="8195312" cy="53895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Inhaltsplatzhalter 6"/>
          <p:cNvSpPr txBox="1">
            <a:spLocks/>
          </p:cNvSpPr>
          <p:nvPr/>
        </p:nvSpPr>
        <p:spPr bwMode="gray">
          <a:xfrm>
            <a:off x="3984552" y="4996923"/>
            <a:ext cx="3656564" cy="578376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</a:pPr>
            <a:r>
              <a:rPr lang="de-DE" sz="2300" dirty="0" smtClean="0">
                <a:solidFill>
                  <a:schemeClr val="tx2"/>
                </a:solidFill>
                <a:ea typeface="Tele-GroteskFet" pitchFamily="2" charset="0"/>
                <a:cs typeface="Tele-GroteskFet" pitchFamily="2" charset="0"/>
              </a:rPr>
              <a:t>PEOPLE MANAGEMENT</a:t>
            </a:r>
            <a:endParaRPr lang="ru-RU" sz="1000" dirty="0">
              <a:solidFill>
                <a:schemeClr val="tx2"/>
              </a:solidFill>
              <a:ea typeface="Tele-GroteskFet" pitchFamily="2" charset="0"/>
              <a:cs typeface="Tele-GroteskFet" pitchFamily="2" charset="0"/>
            </a:endParaRPr>
          </a:p>
          <a:p>
            <a:pPr marL="361950" lvl="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</a:pPr>
            <a:endParaRPr lang="en-US" sz="2300" dirty="0">
              <a:latin typeface="Tele-GroteskNor"/>
            </a:endParaRPr>
          </a:p>
        </p:txBody>
      </p:sp>
      <p:sp>
        <p:nvSpPr>
          <p:cNvPr id="15" name="Inhaltsplatzhalter 6"/>
          <p:cNvSpPr txBox="1">
            <a:spLocks/>
          </p:cNvSpPr>
          <p:nvPr/>
        </p:nvSpPr>
        <p:spPr bwMode="gray">
          <a:xfrm>
            <a:off x="2597487" y="2106718"/>
            <a:ext cx="3282022" cy="54123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</a:pPr>
            <a:r>
              <a:rPr lang="de-DE" sz="2300" dirty="0" smtClean="0">
                <a:solidFill>
                  <a:schemeClr val="tx2"/>
                </a:solidFill>
                <a:ea typeface="Tele-GroteskFet" pitchFamily="2" charset="0"/>
                <a:cs typeface="Tele-GroteskFet" pitchFamily="2" charset="0"/>
              </a:rPr>
              <a:t>TECHNICAL TOOLS</a:t>
            </a:r>
            <a:endParaRPr lang="ru-RU" sz="1000" dirty="0">
              <a:solidFill>
                <a:schemeClr val="tx2"/>
              </a:solidFill>
              <a:ea typeface="Tele-GroteskFet" pitchFamily="2" charset="0"/>
              <a:cs typeface="Tele-GroteskFet" pitchFamily="2" charset="0"/>
            </a:endParaRPr>
          </a:p>
          <a:p>
            <a:pPr marL="361950" lvl="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</a:pPr>
            <a:endParaRPr lang="en-US" sz="2300" dirty="0">
              <a:latin typeface="Tele-GroteskNor"/>
            </a:endParaRPr>
          </a:p>
        </p:txBody>
      </p:sp>
      <p:sp>
        <p:nvSpPr>
          <p:cNvPr id="16" name="Inhaltsplatzhalter 6"/>
          <p:cNvSpPr txBox="1">
            <a:spLocks/>
          </p:cNvSpPr>
          <p:nvPr/>
        </p:nvSpPr>
        <p:spPr bwMode="gray">
          <a:xfrm>
            <a:off x="4406900" y="3549123"/>
            <a:ext cx="4165600" cy="578376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</a:pPr>
            <a:r>
              <a:rPr lang="de-DE" sz="2300" dirty="0" smtClean="0">
                <a:solidFill>
                  <a:schemeClr val="tx2"/>
                </a:solidFill>
                <a:ea typeface="Tele-GroteskFet" pitchFamily="2" charset="0"/>
                <a:cs typeface="Tele-GroteskFet" pitchFamily="2" charset="0"/>
              </a:rPr>
              <a:t>OPERATIONAL MANAGEMENT</a:t>
            </a:r>
            <a:endParaRPr lang="ru-RU" sz="1000" dirty="0">
              <a:solidFill>
                <a:schemeClr val="tx2"/>
              </a:solidFill>
              <a:ea typeface="Tele-GroteskFet" pitchFamily="2" charset="0"/>
              <a:cs typeface="Tele-GroteskFet" pitchFamily="2" charset="0"/>
            </a:endParaRPr>
          </a:p>
          <a:p>
            <a:pPr marL="361950" lvl="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</a:pPr>
            <a:endParaRPr lang="en-US" sz="2300" dirty="0">
              <a:latin typeface="Tele-GroteskNor"/>
            </a:endParaRPr>
          </a:p>
        </p:txBody>
      </p:sp>
    </p:spTree>
    <p:extLst>
      <p:ext uri="{BB962C8B-B14F-4D97-AF65-F5344CB8AC3E}">
        <p14:creationId xmlns:p14="http://schemas.microsoft.com/office/powerpoint/2010/main" val="3610557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90" y="947280"/>
          <a:ext cx="1388" cy="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252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947280"/>
                        <a:ext cx="1388" cy="1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180" name="Picture 5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90" y="947281"/>
            <a:ext cx="2778" cy="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14</a:t>
            </a:fld>
            <a:endParaRPr lang="de-DE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169" y="9523"/>
            <a:ext cx="10076456" cy="674914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8" tIns="45714" rIns="91428" bIns="45714" anchor="ctr"/>
          <a:lstStyle/>
          <a:p>
            <a:pPr algn="ctr" defTabSz="457142" fontAlgn="base"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FFFFFF"/>
              </a:solidFill>
              <a:cs typeface="Arial Unicode MS" pitchFamily="34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6613" y="3107618"/>
            <a:ext cx="9360000" cy="588082"/>
          </a:xfrm>
        </p:spPr>
        <p:txBody>
          <a:bodyPr/>
          <a:lstStyle/>
          <a:p>
            <a:pPr algn="ctr"/>
            <a:r>
              <a:rPr lang="en-US" sz="6600" b="1" dirty="0" smtClean="0">
                <a:solidFill>
                  <a:schemeClr val="bg1"/>
                </a:solidFill>
                <a:sym typeface="Wingdings" panose="05000000000000000000" pitchFamily="2" charset="2"/>
              </a:rPr>
              <a:t>IT’S QUESTION TIME</a:t>
            </a:r>
            <a:endParaRPr lang="ru-RU" sz="6600" b="1" dirty="0">
              <a:solidFill>
                <a:schemeClr val="bg1"/>
              </a:solidFill>
            </a:endParaRPr>
          </a:p>
        </p:txBody>
      </p:sp>
      <p:pic>
        <p:nvPicPr>
          <p:cNvPr id="702467" name="Picture 3" descr="C:\Users\kea1\Desktop\f3tiu4zw38165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1849" y="6980111"/>
            <a:ext cx="701041" cy="405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 71"/>
          <p:cNvSpPr>
            <a:spLocks/>
          </p:cNvSpPr>
          <p:nvPr/>
        </p:nvSpPr>
        <p:spPr bwMode="auto">
          <a:xfrm>
            <a:off x="4057388" y="2265750"/>
            <a:ext cx="1175656" cy="311113"/>
          </a:xfrm>
          <a:custGeom>
            <a:avLst/>
            <a:gdLst>
              <a:gd name="T0" fmla="*/ 560 w 747"/>
              <a:gd name="T1" fmla="*/ 0 h 374"/>
              <a:gd name="T2" fmla="*/ 560 w 747"/>
              <a:gd name="T3" fmla="*/ 134 h 374"/>
              <a:gd name="T4" fmla="*/ 54 w 747"/>
              <a:gd name="T5" fmla="*/ 134 h 374"/>
              <a:gd name="T6" fmla="*/ 0 w 747"/>
              <a:gd name="T7" fmla="*/ 187 h 374"/>
              <a:gd name="T8" fmla="*/ 54 w 747"/>
              <a:gd name="T9" fmla="*/ 240 h 374"/>
              <a:gd name="T10" fmla="*/ 560 w 747"/>
              <a:gd name="T11" fmla="*/ 240 h 374"/>
              <a:gd name="T12" fmla="*/ 560 w 747"/>
              <a:gd name="T13" fmla="*/ 374 h 374"/>
              <a:gd name="T14" fmla="*/ 747 w 747"/>
              <a:gd name="T15" fmla="*/ 187 h 374"/>
              <a:gd name="T16" fmla="*/ 560 w 747"/>
              <a:gd name="T17" fmla="*/ 0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47" h="374">
                <a:moveTo>
                  <a:pt x="560" y="0"/>
                </a:moveTo>
                <a:cubicBezTo>
                  <a:pt x="560" y="134"/>
                  <a:pt x="560" y="134"/>
                  <a:pt x="560" y="134"/>
                </a:cubicBezTo>
                <a:cubicBezTo>
                  <a:pt x="54" y="134"/>
                  <a:pt x="54" y="134"/>
                  <a:pt x="54" y="134"/>
                </a:cubicBezTo>
                <a:cubicBezTo>
                  <a:pt x="24" y="134"/>
                  <a:pt x="0" y="158"/>
                  <a:pt x="0" y="187"/>
                </a:cubicBezTo>
                <a:cubicBezTo>
                  <a:pt x="0" y="216"/>
                  <a:pt x="24" y="240"/>
                  <a:pt x="54" y="240"/>
                </a:cubicBezTo>
                <a:cubicBezTo>
                  <a:pt x="560" y="240"/>
                  <a:pt x="560" y="240"/>
                  <a:pt x="560" y="240"/>
                </a:cubicBezTo>
                <a:cubicBezTo>
                  <a:pt x="560" y="374"/>
                  <a:pt x="560" y="374"/>
                  <a:pt x="560" y="374"/>
                </a:cubicBezTo>
                <a:cubicBezTo>
                  <a:pt x="747" y="187"/>
                  <a:pt x="747" y="187"/>
                  <a:pt x="747" y="187"/>
                </a:cubicBezTo>
                <a:cubicBezTo>
                  <a:pt x="560" y="0"/>
                  <a:pt x="560" y="0"/>
                  <a:pt x="560" y="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0001" tIns="40000" rIns="80001" bIns="40000" numCol="1" anchor="t" anchorCtr="0" compatLnSpc="1">
            <a:prstTxWarp prst="textNoShape">
              <a:avLst/>
            </a:prstTxWarp>
          </a:bodyPr>
          <a:lstStyle/>
          <a:p>
            <a:endParaRPr lang="de-DE" sz="2012" dirty="0"/>
          </a:p>
        </p:txBody>
      </p:sp>
    </p:spTree>
    <p:extLst>
      <p:ext uri="{BB962C8B-B14F-4D97-AF65-F5344CB8AC3E}">
        <p14:creationId xmlns:p14="http://schemas.microsoft.com/office/powerpoint/2010/main" val="1279290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90" y="947280"/>
          <a:ext cx="1388" cy="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76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947280"/>
                        <a:ext cx="1388" cy="1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180" name="Picture 5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90" y="947281"/>
            <a:ext cx="2778" cy="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15</a:t>
            </a:fld>
            <a:endParaRPr lang="de-DE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169" y="9523"/>
            <a:ext cx="10076456" cy="674914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8" tIns="45714" rIns="91428" bIns="45714" anchor="ctr"/>
          <a:lstStyle/>
          <a:p>
            <a:pPr algn="ctr" defTabSz="457142" fontAlgn="base"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FFFFFF"/>
              </a:solidFill>
              <a:cs typeface="Arial Unicode MS" pitchFamily="34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6613" y="3107618"/>
            <a:ext cx="9360000" cy="588082"/>
          </a:xfrm>
        </p:spPr>
        <p:txBody>
          <a:bodyPr/>
          <a:lstStyle/>
          <a:p>
            <a:pPr algn="ctr"/>
            <a:r>
              <a:rPr lang="de-DE" sz="6600" b="1" dirty="0" smtClean="0">
                <a:solidFill>
                  <a:schemeClr val="bg1"/>
                </a:solidFill>
              </a:rPr>
              <a:t>THANK YOU</a:t>
            </a:r>
            <a:endParaRPr lang="ru-RU" sz="6600" b="1" dirty="0">
              <a:solidFill>
                <a:schemeClr val="bg1"/>
              </a:solidFill>
            </a:endParaRPr>
          </a:p>
        </p:txBody>
      </p:sp>
      <p:pic>
        <p:nvPicPr>
          <p:cNvPr id="702467" name="Picture 3" descr="C:\Users\kea1\Desktop\f3tiu4zw38165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1849" y="6980111"/>
            <a:ext cx="701041" cy="405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 71"/>
          <p:cNvSpPr>
            <a:spLocks/>
          </p:cNvSpPr>
          <p:nvPr/>
        </p:nvSpPr>
        <p:spPr bwMode="auto">
          <a:xfrm>
            <a:off x="4057388" y="2265750"/>
            <a:ext cx="1175656" cy="311113"/>
          </a:xfrm>
          <a:custGeom>
            <a:avLst/>
            <a:gdLst>
              <a:gd name="T0" fmla="*/ 560 w 747"/>
              <a:gd name="T1" fmla="*/ 0 h 374"/>
              <a:gd name="T2" fmla="*/ 560 w 747"/>
              <a:gd name="T3" fmla="*/ 134 h 374"/>
              <a:gd name="T4" fmla="*/ 54 w 747"/>
              <a:gd name="T5" fmla="*/ 134 h 374"/>
              <a:gd name="T6" fmla="*/ 0 w 747"/>
              <a:gd name="T7" fmla="*/ 187 h 374"/>
              <a:gd name="T8" fmla="*/ 54 w 747"/>
              <a:gd name="T9" fmla="*/ 240 h 374"/>
              <a:gd name="T10" fmla="*/ 560 w 747"/>
              <a:gd name="T11" fmla="*/ 240 h 374"/>
              <a:gd name="T12" fmla="*/ 560 w 747"/>
              <a:gd name="T13" fmla="*/ 374 h 374"/>
              <a:gd name="T14" fmla="*/ 747 w 747"/>
              <a:gd name="T15" fmla="*/ 187 h 374"/>
              <a:gd name="T16" fmla="*/ 560 w 747"/>
              <a:gd name="T17" fmla="*/ 0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47" h="374">
                <a:moveTo>
                  <a:pt x="560" y="0"/>
                </a:moveTo>
                <a:cubicBezTo>
                  <a:pt x="560" y="134"/>
                  <a:pt x="560" y="134"/>
                  <a:pt x="560" y="134"/>
                </a:cubicBezTo>
                <a:cubicBezTo>
                  <a:pt x="54" y="134"/>
                  <a:pt x="54" y="134"/>
                  <a:pt x="54" y="134"/>
                </a:cubicBezTo>
                <a:cubicBezTo>
                  <a:pt x="24" y="134"/>
                  <a:pt x="0" y="158"/>
                  <a:pt x="0" y="187"/>
                </a:cubicBezTo>
                <a:cubicBezTo>
                  <a:pt x="0" y="216"/>
                  <a:pt x="24" y="240"/>
                  <a:pt x="54" y="240"/>
                </a:cubicBezTo>
                <a:cubicBezTo>
                  <a:pt x="560" y="240"/>
                  <a:pt x="560" y="240"/>
                  <a:pt x="560" y="240"/>
                </a:cubicBezTo>
                <a:cubicBezTo>
                  <a:pt x="560" y="374"/>
                  <a:pt x="560" y="374"/>
                  <a:pt x="560" y="374"/>
                </a:cubicBezTo>
                <a:cubicBezTo>
                  <a:pt x="747" y="187"/>
                  <a:pt x="747" y="187"/>
                  <a:pt x="747" y="187"/>
                </a:cubicBezTo>
                <a:cubicBezTo>
                  <a:pt x="560" y="0"/>
                  <a:pt x="560" y="0"/>
                  <a:pt x="560" y="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0001" tIns="40000" rIns="80001" bIns="40000" numCol="1" anchor="t" anchorCtr="0" compatLnSpc="1">
            <a:prstTxWarp prst="textNoShape">
              <a:avLst/>
            </a:prstTxWarp>
          </a:bodyPr>
          <a:lstStyle/>
          <a:p>
            <a:endParaRPr lang="de-DE" sz="2012" dirty="0"/>
          </a:p>
        </p:txBody>
      </p:sp>
    </p:spTree>
    <p:extLst>
      <p:ext uri="{BB962C8B-B14F-4D97-AF65-F5344CB8AC3E}">
        <p14:creationId xmlns:p14="http://schemas.microsoft.com/office/powerpoint/2010/main" val="3556923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90" y="947280"/>
          <a:ext cx="1388" cy="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1536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947280"/>
                        <a:ext cx="1388" cy="1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180" name="Picture 5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90" y="947281"/>
            <a:ext cx="2778" cy="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>
          <a:xfrm>
            <a:off x="2918673" y="191869"/>
            <a:ext cx="4098538" cy="588082"/>
          </a:xfrm>
        </p:spPr>
        <p:txBody>
          <a:bodyPr/>
          <a:lstStyle/>
          <a:p>
            <a:pPr algn="ctr"/>
            <a:r>
              <a:rPr lang="en-US" sz="4400" b="1" dirty="0" err="1" smtClean="0"/>
              <a:t>Testteam</a:t>
            </a:r>
            <a:endParaRPr lang="de-DE" sz="4400" b="1" dirty="0" smtClean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2</a:t>
            </a:fld>
            <a:endParaRPr lang="de-DE" dirty="0"/>
          </a:p>
        </p:txBody>
      </p:sp>
      <p:grpSp>
        <p:nvGrpSpPr>
          <p:cNvPr id="12" name="Gruppieren 188">
            <a:extLst>
              <a:ext uri="{FF2B5EF4-FFF2-40B4-BE49-F238E27FC236}">
                <a16:creationId xmlns="" xmlns:a16="http://schemas.microsoft.com/office/drawing/2014/main" id="{5717B482-EAEF-4919-AD74-3896D00AB056}"/>
              </a:ext>
            </a:extLst>
          </p:cNvPr>
          <p:cNvGrpSpPr/>
          <p:nvPr/>
        </p:nvGrpSpPr>
        <p:grpSpPr>
          <a:xfrm>
            <a:off x="4417578" y="779950"/>
            <a:ext cx="1016090" cy="1170113"/>
            <a:chOff x="1409436" y="4978530"/>
            <a:chExt cx="1117485" cy="2168915"/>
          </a:xfrm>
        </p:grpSpPr>
        <p:grpSp>
          <p:nvGrpSpPr>
            <p:cNvPr id="16" name="Gruppieren 192">
              <a:extLst>
                <a:ext uri="{FF2B5EF4-FFF2-40B4-BE49-F238E27FC236}">
                  <a16:creationId xmlns="" xmlns:a16="http://schemas.microsoft.com/office/drawing/2014/main" id="{DA0ECC00-EBA6-49B4-AB3B-2553B3F748EF}"/>
                </a:ext>
              </a:extLst>
            </p:cNvPr>
            <p:cNvGrpSpPr/>
            <p:nvPr/>
          </p:nvGrpSpPr>
          <p:grpSpPr>
            <a:xfrm>
              <a:off x="1409436" y="4978530"/>
              <a:ext cx="1117485" cy="2168915"/>
              <a:chOff x="2767260" y="2389420"/>
              <a:chExt cx="1307056" cy="1579900"/>
            </a:xfrm>
          </p:grpSpPr>
          <p:sp>
            <p:nvSpPr>
              <p:cNvPr id="18" name="Inhaltsplatzhalter 6">
                <a:extLst>
                  <a:ext uri="{FF2B5EF4-FFF2-40B4-BE49-F238E27FC236}">
                    <a16:creationId xmlns="" xmlns:a16="http://schemas.microsoft.com/office/drawing/2014/main" id="{B9309B06-14D7-4C3C-893E-93120214D239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2767260" y="2409051"/>
                <a:ext cx="1297579" cy="1560269"/>
              </a:xfrm>
              <a:prstGeom prst="rect">
                <a:avLst/>
              </a:prstGeom>
              <a:noFill/>
              <a:ln w="2222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108000" tIns="72000" rIns="72000" bIns="72000" numCol="1" anchor="t" anchorCtr="0" compatLnSpc="1">
                <a:prstTxWarp prst="textNoShape">
                  <a:avLst/>
                </a:prstTxWarp>
              </a:bodyPr>
              <a:lstStyle>
                <a:lvl1pPr algn="l" defTabSz="576226" rtl="0" eaLnBrk="1" fontAlgn="base" hangingPunct="1">
                  <a:lnSpc>
                    <a:spcPct val="104000"/>
                  </a:lnSpc>
                  <a:spcBef>
                    <a:spcPts val="120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itchFamily="2" charset="2"/>
                  <a:defRPr sz="1800" kern="1200">
                    <a:solidFill>
                      <a:srgbClr val="4B4B4B"/>
                    </a:solidFill>
                    <a:latin typeface="Tele-GroteskFet" pitchFamily="2" charset="0"/>
                    <a:ea typeface="+mn-ea"/>
                    <a:cs typeface="+mn-cs"/>
                  </a:defRPr>
                </a:lvl1pPr>
                <a:lvl2pPr marL="1588" algn="l" defTabSz="576226" rtl="0" eaLnBrk="1" fontAlgn="base" hangingPunct="1">
                  <a:lnSpc>
                    <a:spcPct val="104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itchFamily="2" charset="2"/>
                  <a:defRPr sz="1800" kern="1200">
                    <a:solidFill>
                      <a:srgbClr val="4B4B4B"/>
                    </a:solidFill>
                    <a:latin typeface="+mn-lt"/>
                    <a:ea typeface="+mn-ea"/>
                    <a:cs typeface="+mn-cs"/>
                  </a:defRPr>
                </a:lvl2pPr>
                <a:lvl3pPr marL="225410" indent="-220649" algn="l" defTabSz="576226" rtl="0" eaLnBrk="1" fontAlgn="base" hangingPunct="1">
                  <a:lnSpc>
                    <a:spcPct val="104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1"/>
                  </a:buClr>
                  <a:buSzPct val="70000"/>
                  <a:buFont typeface="Wingdings 2" panose="05020102010507070707" pitchFamily="18" charset="2"/>
                  <a:buChar char="¡"/>
                  <a:defRPr sz="1800" kern="1200">
                    <a:solidFill>
                      <a:srgbClr val="4B4B4B"/>
                    </a:solidFill>
                    <a:latin typeface="+mn-lt"/>
                    <a:ea typeface="+mn-ea"/>
                    <a:cs typeface="+mn-cs"/>
                  </a:defRPr>
                </a:lvl3pPr>
                <a:lvl4pPr marL="444471" indent="-215886" algn="l" defTabSz="576226" rtl="0" eaLnBrk="1" fontAlgn="base" hangingPunct="1">
                  <a:lnSpc>
                    <a:spcPct val="104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chemeClr val="tx1"/>
                  </a:buClr>
                  <a:buSzPct val="70000"/>
                  <a:buFont typeface="Wingdings 2" panose="05020102010507070707" pitchFamily="18" charset="2"/>
                  <a:buChar char="¡"/>
                  <a:defRPr sz="1800" kern="1200">
                    <a:solidFill>
                      <a:srgbClr val="4B4B4B"/>
                    </a:solidFill>
                    <a:latin typeface="+mn-lt"/>
                    <a:ea typeface="+mn-ea"/>
                    <a:cs typeface="+mn-cs"/>
                  </a:defRPr>
                </a:lvl4pPr>
                <a:lvl5pPr marL="677820" indent="-231761" algn="l" defTabSz="576226" rtl="0" eaLnBrk="1" fontAlgn="base" hangingPunct="1">
                  <a:lnSpc>
                    <a:spcPct val="104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chemeClr val="tx1"/>
                  </a:buClr>
                  <a:buSzPct val="70000"/>
                  <a:buFont typeface="Wingdings 2" panose="05020102010507070707" pitchFamily="18" charset="2"/>
                  <a:buChar char="¡"/>
                  <a:defRPr sz="1800" kern="1200">
                    <a:solidFill>
                      <a:srgbClr val="4B4B4B"/>
                    </a:solidFill>
                    <a:latin typeface="+mn-lt"/>
                    <a:ea typeface="+mn-ea"/>
                    <a:cs typeface="+mn-cs"/>
                  </a:defRPr>
                </a:lvl5pPr>
                <a:lvl6pPr marL="2514440" indent="-228585" algn="l" defTabSz="457171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09" indent="-228585" algn="l" defTabSz="457171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780" indent="-228585" algn="l" defTabSz="457171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951" indent="-228585" algn="l" defTabSz="457171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buClr>
                    <a:srgbClr val="E20074"/>
                  </a:buClr>
                </a:pPr>
                <a:endParaRPr lang="en-US" sz="900" dirty="0"/>
              </a:p>
            </p:txBody>
          </p:sp>
          <p:sp>
            <p:nvSpPr>
              <p:cNvPr id="19" name="Rectangle 5">
                <a:extLst>
                  <a:ext uri="{FF2B5EF4-FFF2-40B4-BE49-F238E27FC236}">
                    <a16:creationId xmlns="" xmlns:a16="http://schemas.microsoft.com/office/drawing/2014/main" id="{5491723A-A7FA-4D56-BEED-8605185319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67260" y="2389420"/>
                <a:ext cx="1307056" cy="266468"/>
              </a:xfrm>
              <a:prstGeom prst="rect">
                <a:avLst/>
              </a:prstGeom>
              <a:solidFill>
                <a:schemeClr val="tx2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108000" tIns="36000" rIns="36000" bIns="36000" anchor="ctr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900" dirty="0">
                    <a:solidFill>
                      <a:srgbClr val="FFFFFF"/>
                    </a:solidFill>
                    <a:latin typeface="TeleGrotesk Headline Ultra" pitchFamily="2" charset="0"/>
                    <a:cs typeface="Arial Unicode MS" panose="020B0604020202020204" pitchFamily="34" charset="-128"/>
                  </a:rPr>
                  <a:t>Team Lead </a:t>
                </a:r>
              </a:p>
            </p:txBody>
          </p:sp>
          <p:sp>
            <p:nvSpPr>
              <p:cNvPr id="20" name="Textfeld 197">
                <a:extLst>
                  <a:ext uri="{FF2B5EF4-FFF2-40B4-BE49-F238E27FC236}">
                    <a16:creationId xmlns="" xmlns:a16="http://schemas.microsoft.com/office/drawing/2014/main" id="{FC733D1B-9849-41FE-A31E-E7184C983C01}"/>
                  </a:ext>
                </a:extLst>
              </p:cNvPr>
              <p:cNvSpPr txBox="1"/>
              <p:nvPr/>
            </p:nvSpPr>
            <p:spPr bwMode="gray">
              <a:xfrm>
                <a:off x="2767260" y="3429761"/>
                <a:ext cx="1297578" cy="223551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  <p:txBody>
              <a:bodyPr vert="horz" wrap="square" lIns="72000" tIns="36000" rIns="72000" bIns="36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503892" indent="-503892" algn="ctr" defTabSz="1151860" eaLnBrk="0" hangingPunct="0">
                  <a:defRPr/>
                </a:pPr>
                <a:endParaRPr lang="de-DE" sz="900" dirty="0">
                  <a:solidFill>
                    <a:srgbClr val="FF0066"/>
                  </a:solidFill>
                </a:endParaRPr>
              </a:p>
            </p:txBody>
          </p:sp>
        </p:grpSp>
        <p:sp>
          <p:nvSpPr>
            <p:cNvPr id="17" name="Textfeld 194">
              <a:extLst>
                <a:ext uri="{FF2B5EF4-FFF2-40B4-BE49-F238E27FC236}">
                  <a16:creationId xmlns="" xmlns:a16="http://schemas.microsoft.com/office/drawing/2014/main" id="{731B7ACF-4D62-4E88-8346-F94BBE2ECC98}"/>
                </a:ext>
              </a:extLst>
            </p:cNvPr>
            <p:cNvSpPr txBox="1"/>
            <p:nvPr/>
          </p:nvSpPr>
          <p:spPr bwMode="gray">
            <a:xfrm>
              <a:off x="1409441" y="6850636"/>
              <a:ext cx="1109382" cy="23148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ru-RU" sz="800" b="1" dirty="0" smtClean="0">
                  <a:solidFill>
                    <a:srgbClr val="E20074"/>
                  </a:solidFill>
                  <a:latin typeface="TeleGrotesk Headline Ultra" pitchFamily="2" charset="0"/>
                </a:rPr>
                <a:t>Света</a:t>
              </a:r>
              <a:endParaRPr lang="de-DE" sz="800" b="1" dirty="0">
                <a:solidFill>
                  <a:srgbClr val="E20074"/>
                </a:solidFill>
                <a:latin typeface="TeleGrotesk Headline Ultra" pitchFamily="2" charset="0"/>
              </a:endParaRPr>
            </a:p>
            <a:p>
              <a:pPr marL="0" indent="0">
                <a:buNone/>
              </a:pPr>
              <a:endParaRPr lang="de-DE" sz="800" dirty="0">
                <a:latin typeface="TeleGrotesk Headline Ultra" pitchFamily="2" charset="0"/>
              </a:endParaRPr>
            </a:p>
            <a:p>
              <a:pPr marL="0" indent="0">
                <a:buNone/>
              </a:pPr>
              <a:endParaRPr lang="de-DE" sz="800" dirty="0">
                <a:latin typeface="TeleGrotesk Headline Ultra" pitchFamily="2" charset="0"/>
              </a:endParaRPr>
            </a:p>
          </p:txBody>
        </p:sp>
      </p:grpSp>
      <p:pic>
        <p:nvPicPr>
          <p:cNvPr id="21" name="Grafik 133">
            <a:extLst>
              <a:ext uri="{FF2B5EF4-FFF2-40B4-BE49-F238E27FC236}">
                <a16:creationId xmlns="" xmlns:a16="http://schemas.microsoft.com/office/drawing/2014/main" id="{1B493AD2-FCB2-41F0-9D1F-DD16928AA5C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67273" y="1064644"/>
            <a:ext cx="710362" cy="71785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2" name="Rectangle 7"/>
          <p:cNvSpPr>
            <a:spLocks noChangeArrowheads="1"/>
          </p:cNvSpPr>
          <p:nvPr/>
        </p:nvSpPr>
        <p:spPr bwMode="auto">
          <a:xfrm>
            <a:off x="731221" y="1272538"/>
            <a:ext cx="1971675" cy="2754244"/>
          </a:xfrm>
          <a:prstGeom prst="rect">
            <a:avLst/>
          </a:prstGeom>
          <a:solidFill>
            <a:srgbClr val="7030A0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8" tIns="45714" rIns="91428" bIns="45714" anchor="ctr"/>
          <a:lstStyle/>
          <a:p>
            <a:pPr algn="ctr" defTabSz="457142" fontAlgn="base"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FFFFFF"/>
              </a:solidFill>
              <a:cs typeface="Arial Unicode MS" pitchFamily="34" charset="-128"/>
            </a:endParaRPr>
          </a:p>
        </p:txBody>
      </p:sp>
      <p:grpSp>
        <p:nvGrpSpPr>
          <p:cNvPr id="30" name="Gruppieren 170">
            <a:extLst>
              <a:ext uri="{FF2B5EF4-FFF2-40B4-BE49-F238E27FC236}">
                <a16:creationId xmlns="" xmlns:a16="http://schemas.microsoft.com/office/drawing/2014/main" id="{412CD377-93FF-416F-9ABA-E1C342CEE026}"/>
              </a:ext>
            </a:extLst>
          </p:cNvPr>
          <p:cNvGrpSpPr/>
          <p:nvPr/>
        </p:nvGrpSpPr>
        <p:grpSpPr>
          <a:xfrm>
            <a:off x="3092061" y="780150"/>
            <a:ext cx="1333577" cy="1551715"/>
            <a:chOff x="2530170" y="1721405"/>
            <a:chExt cx="1534668" cy="1931907"/>
          </a:xfrm>
        </p:grpSpPr>
        <p:sp>
          <p:nvSpPr>
            <p:cNvPr id="32" name="Inhaltsplatzhalter 6">
              <a:extLst>
                <a:ext uri="{FF2B5EF4-FFF2-40B4-BE49-F238E27FC236}">
                  <a16:creationId xmlns="" xmlns:a16="http://schemas.microsoft.com/office/drawing/2014/main" id="{C9BB5A4F-B7AD-4B52-8DB6-239A3DC9F34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530170" y="1748929"/>
              <a:ext cx="1297578" cy="1460323"/>
            </a:xfrm>
            <a:prstGeom prst="rect">
              <a:avLst/>
            </a:prstGeom>
            <a:noFill/>
            <a:ln w="22225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square" lIns="108000" tIns="72000" rIns="72000" bIns="72000" numCol="1" anchor="t" anchorCtr="0" compatLnSpc="1">
              <a:prstTxWarp prst="textNoShape">
                <a:avLst/>
              </a:prstTxWarp>
            </a:bodyPr>
            <a:lstStyle>
              <a:lvl1pPr algn="l" defTabSz="576226" rtl="0" eaLnBrk="1" fontAlgn="base" hangingPunct="1">
                <a:lnSpc>
                  <a:spcPct val="104000"/>
                </a:lnSpc>
                <a:spcBef>
                  <a:spcPts val="12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Tele-GroteskFet" pitchFamily="2" charset="0"/>
                  <a:ea typeface="+mn-ea"/>
                  <a:cs typeface="+mn-cs"/>
                </a:defRPr>
              </a:lvl1pPr>
              <a:lvl2pPr marL="1588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2pPr>
              <a:lvl3pPr marL="225410" indent="-220649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3pPr>
              <a:lvl4pPr marL="444471" indent="-215886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4pPr>
              <a:lvl5pPr marL="677820" indent="-231761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5pPr>
              <a:lvl6pPr marL="251444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09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78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951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rgbClr val="E20074"/>
                </a:buClr>
              </a:pPr>
              <a:endParaRPr lang="en-US" sz="900" dirty="0"/>
            </a:p>
          </p:txBody>
        </p:sp>
        <p:sp>
          <p:nvSpPr>
            <p:cNvPr id="33" name="Rectangle 5">
              <a:extLst>
                <a:ext uri="{FF2B5EF4-FFF2-40B4-BE49-F238E27FC236}">
                  <a16:creationId xmlns="" xmlns:a16="http://schemas.microsoft.com/office/drawing/2014/main" id="{8D4851A7-B564-4F72-A1ED-62743615AF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6711" y="1721405"/>
              <a:ext cx="1281035" cy="245707"/>
            </a:xfrm>
            <a:prstGeom prst="rect">
              <a:avLst/>
            </a:prstGeom>
            <a:solidFill>
              <a:schemeClr val="tx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108000" tIns="36000" rIns="36000" bIns="36000" anchor="ctr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err="1" smtClean="0">
                  <a:solidFill>
                    <a:srgbClr val="FFFFFF"/>
                  </a:solidFill>
                  <a:latin typeface="TeleGrotesk Headline Ultra" pitchFamily="2" charset="0"/>
                  <a:cs typeface="Arial Unicode MS" panose="020B0604020202020204" pitchFamily="34" charset="-128"/>
                </a:rPr>
                <a:t>Testmanager</a:t>
              </a:r>
              <a:endParaRPr lang="en-US" sz="900" dirty="0">
                <a:solidFill>
                  <a:srgbClr val="FFFFFF"/>
                </a:solidFill>
                <a:latin typeface="TeleGrotesk Headline Ultra" pitchFamily="2" charset="0"/>
                <a:cs typeface="Arial Unicode MS" panose="020B0604020202020204" pitchFamily="34" charset="-128"/>
              </a:endParaRPr>
            </a:p>
          </p:txBody>
        </p:sp>
        <p:sp>
          <p:nvSpPr>
            <p:cNvPr id="34" name="Textfeld 175">
              <a:extLst>
                <a:ext uri="{FF2B5EF4-FFF2-40B4-BE49-F238E27FC236}">
                  <a16:creationId xmlns="" xmlns:a16="http://schemas.microsoft.com/office/drawing/2014/main" id="{FF4B1F45-62B1-472E-9467-C09E51074F56}"/>
                </a:ext>
              </a:extLst>
            </p:cNvPr>
            <p:cNvSpPr txBox="1"/>
            <p:nvPr/>
          </p:nvSpPr>
          <p:spPr bwMode="gray">
            <a:xfrm>
              <a:off x="2767260" y="3429761"/>
              <a:ext cx="1297578" cy="223551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503892" indent="-503892" algn="ctr" defTabSz="1151860" eaLnBrk="0" hangingPunct="0">
                <a:defRPr/>
              </a:pPr>
              <a:endParaRPr lang="de-DE" sz="900" dirty="0">
                <a:solidFill>
                  <a:srgbClr val="FF0066"/>
                </a:solidFill>
              </a:endParaRPr>
            </a:p>
          </p:txBody>
        </p:sp>
      </p:grpSp>
      <p:pic>
        <p:nvPicPr>
          <p:cNvPr id="35" name="Grafik 204">
            <a:extLst>
              <a:ext uri="{FF2B5EF4-FFF2-40B4-BE49-F238E27FC236}">
                <a16:creationId xmlns="" xmlns:a16="http://schemas.microsoft.com/office/drawing/2014/main" id="{5C9A72B2-C002-4341-BFB3-13C854B9684C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4494" y="1090025"/>
            <a:ext cx="638233" cy="69247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6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3110232" y="1773032"/>
            <a:ext cx="1109381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800" b="1" dirty="0" smtClean="0">
                <a:solidFill>
                  <a:srgbClr val="E20074"/>
                </a:solidFill>
                <a:latin typeface="TeleGrotesk Headline Ultra" pitchFamily="2" charset="0"/>
              </a:rPr>
              <a:t>Антье</a:t>
            </a:r>
            <a:endParaRPr lang="de-DE" sz="800" b="1" dirty="0">
              <a:solidFill>
                <a:srgbClr val="E20074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pic>
        <p:nvPicPr>
          <p:cNvPr id="37" name="Grafik 103">
            <a:extLst>
              <a:ext uri="{FF2B5EF4-FFF2-40B4-BE49-F238E27FC236}">
                <a16:creationId xmlns="" xmlns:a16="http://schemas.microsoft.com/office/drawing/2014/main" id="{1865D1F8-A64C-4CA0-8122-8414E05F5863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302851">
            <a:off x="925871" y="1800690"/>
            <a:ext cx="620293" cy="60485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9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961556" y="1294208"/>
            <a:ext cx="1511004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 dirty="0" err="1" smtClean="0">
                <a:solidFill>
                  <a:schemeClr val="bg1"/>
                </a:solidFill>
                <a:latin typeface="TeleGrotesk Headline Ultra" pitchFamily="2" charset="0"/>
              </a:rPr>
              <a:t>ProduCtion</a:t>
            </a:r>
            <a:r>
              <a:rPr lang="en-US" sz="1400" b="1" dirty="0" smtClean="0">
                <a:solidFill>
                  <a:schemeClr val="bg1"/>
                </a:solidFill>
                <a:latin typeface="TeleGrotesk Headline Ultra" pitchFamily="2" charset="0"/>
              </a:rPr>
              <a:t> </a:t>
            </a:r>
            <a:r>
              <a:rPr lang="ru-RU" sz="1100" b="1" dirty="0" smtClean="0">
                <a:solidFill>
                  <a:schemeClr val="bg1"/>
                </a:solidFill>
                <a:latin typeface="TeleGrotesk Headline Ultra" pitchFamily="2" charset="0"/>
              </a:rPr>
              <a:t>версия</a:t>
            </a:r>
            <a:endParaRPr lang="de-DE" sz="11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sp>
        <p:nvSpPr>
          <p:cNvPr id="40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731221" y="1604544"/>
            <a:ext cx="1395886" cy="9856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700" b="1" dirty="0" smtClean="0">
                <a:solidFill>
                  <a:schemeClr val="bg1"/>
                </a:solidFill>
                <a:latin typeface="TeleGrotesk Headline Ultra" pitchFamily="2" charset="0"/>
              </a:rPr>
              <a:t>Руководитель версии</a:t>
            </a:r>
            <a:endParaRPr lang="de-DE" sz="7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sp>
        <p:nvSpPr>
          <p:cNvPr id="41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641497" y="2369131"/>
            <a:ext cx="1109381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800" b="1" dirty="0" smtClean="0">
                <a:solidFill>
                  <a:schemeClr val="bg1"/>
                </a:solidFill>
                <a:latin typeface="TeleGrotesk Headline Ultra" pitchFamily="2" charset="0"/>
              </a:rPr>
              <a:t>Марина </a:t>
            </a:r>
            <a:endParaRPr lang="de-DE" sz="8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sp>
        <p:nvSpPr>
          <p:cNvPr id="42" name="Rectangle 7"/>
          <p:cNvSpPr>
            <a:spLocks noChangeArrowheads="1"/>
          </p:cNvSpPr>
          <p:nvPr/>
        </p:nvSpPr>
        <p:spPr bwMode="auto">
          <a:xfrm>
            <a:off x="3683610" y="2017487"/>
            <a:ext cx="2487243" cy="256403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8" tIns="45714" rIns="91428" bIns="45714" anchor="ctr"/>
          <a:lstStyle/>
          <a:p>
            <a:pPr algn="ctr" defTabSz="457142" fontAlgn="base"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FFFFFF"/>
              </a:solidFill>
              <a:cs typeface="Arial Unicode MS" pitchFamily="34" charset="-128"/>
            </a:endParaRPr>
          </a:p>
        </p:txBody>
      </p:sp>
      <p:sp>
        <p:nvSpPr>
          <p:cNvPr id="54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4091140" y="2041071"/>
            <a:ext cx="1511004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1100" b="1" dirty="0">
                <a:solidFill>
                  <a:schemeClr val="bg1"/>
                </a:solidFill>
                <a:latin typeface="TeleGrotesk Headline Ultra" pitchFamily="2" charset="0"/>
              </a:rPr>
              <a:t>Текущая</a:t>
            </a:r>
            <a:r>
              <a:rPr lang="en-US" sz="1100" b="1" dirty="0">
                <a:solidFill>
                  <a:schemeClr val="bg1"/>
                </a:solidFill>
                <a:latin typeface="TeleGrotesk Headline Ultra" pitchFamily="2" charset="0"/>
              </a:rPr>
              <a:t> </a:t>
            </a:r>
            <a:r>
              <a:rPr lang="ru-RU" sz="1100" b="1" dirty="0" smtClean="0">
                <a:solidFill>
                  <a:schemeClr val="bg1"/>
                </a:solidFill>
                <a:latin typeface="TeleGrotesk Headline Ultra" pitchFamily="2" charset="0"/>
              </a:rPr>
              <a:t>версия</a:t>
            </a:r>
            <a:endParaRPr lang="de-DE" sz="11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pic>
        <p:nvPicPr>
          <p:cNvPr id="55" name="Grafik 226">
            <a:extLst>
              <a:ext uri="{FF2B5EF4-FFF2-40B4-BE49-F238E27FC236}">
                <a16:creationId xmlns="" xmlns:a16="http://schemas.microsoft.com/office/drawing/2014/main" id="{66496C40-1A12-480E-9D6C-7BA9C2FAED93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967458">
            <a:off x="3947365" y="2517300"/>
            <a:ext cx="604985" cy="60744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6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1864283" y="1881689"/>
            <a:ext cx="1009769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700" b="1" dirty="0" err="1" smtClean="0">
                <a:solidFill>
                  <a:schemeClr val="bg1"/>
                </a:solidFill>
                <a:latin typeface="TeleGrotesk Headline Ultra" pitchFamily="2" charset="0"/>
              </a:rPr>
              <a:t>Тестэксперт</a:t>
            </a:r>
            <a:endParaRPr lang="de-DE" sz="7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pic>
        <p:nvPicPr>
          <p:cNvPr id="57" name="Grafik 202">
            <a:extLst>
              <a:ext uri="{FF2B5EF4-FFF2-40B4-BE49-F238E27FC236}">
                <a16:creationId xmlns="" xmlns:a16="http://schemas.microsoft.com/office/drawing/2014/main" id="{1262DFC8-9A09-4EB4-BC7D-096BDF8BD11C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14557" b="13310"/>
          <a:stretch/>
        </p:blipFill>
        <p:spPr>
          <a:xfrm rot="597874">
            <a:off x="1938092" y="2057189"/>
            <a:ext cx="605138" cy="60018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9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1571115" y="2661966"/>
            <a:ext cx="1109381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800" b="1" dirty="0" smtClean="0">
                <a:solidFill>
                  <a:schemeClr val="bg1"/>
                </a:solidFill>
                <a:latin typeface="TeleGrotesk Headline Ultra" pitchFamily="2" charset="0"/>
              </a:rPr>
              <a:t>Оля </a:t>
            </a:r>
            <a:endParaRPr lang="de-DE" sz="8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sp>
        <p:nvSpPr>
          <p:cNvPr id="60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5155862" y="2422171"/>
            <a:ext cx="1009769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700" b="1" dirty="0" err="1" smtClean="0">
                <a:solidFill>
                  <a:schemeClr val="bg1"/>
                </a:solidFill>
                <a:latin typeface="TeleGrotesk Headline Ultra" pitchFamily="2" charset="0"/>
              </a:rPr>
              <a:t>Тестэксперт</a:t>
            </a:r>
            <a:endParaRPr lang="de-DE" sz="7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sp>
        <p:nvSpPr>
          <p:cNvPr id="62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5155862" y="3182445"/>
            <a:ext cx="1109381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800" b="1" dirty="0" smtClean="0">
                <a:solidFill>
                  <a:schemeClr val="bg1"/>
                </a:solidFill>
                <a:latin typeface="TeleGrotesk Headline Ultra" pitchFamily="2" charset="0"/>
              </a:rPr>
              <a:t>Лена </a:t>
            </a:r>
            <a:endParaRPr lang="de-DE" sz="8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pic>
        <p:nvPicPr>
          <p:cNvPr id="63" name="Grafik 175">
            <a:extLst>
              <a:ext uri="{FF2B5EF4-FFF2-40B4-BE49-F238E27FC236}">
                <a16:creationId xmlns="" xmlns:a16="http://schemas.microsoft.com/office/drawing/2014/main" id="{BD77128D-567E-4C7C-AE96-DECC5856B182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319158">
            <a:off x="5382838" y="2643635"/>
            <a:ext cx="494878" cy="51316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5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730608" y="2615366"/>
            <a:ext cx="1009769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700" b="1" dirty="0" err="1" smtClean="0">
                <a:solidFill>
                  <a:schemeClr val="bg1"/>
                </a:solidFill>
                <a:latin typeface="TeleGrotesk Headline Ultra" pitchFamily="2" charset="0"/>
              </a:rPr>
              <a:t>Тестировщик</a:t>
            </a:r>
            <a:endParaRPr lang="de-DE" sz="7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sp>
        <p:nvSpPr>
          <p:cNvPr id="67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681327" y="5148642"/>
            <a:ext cx="1109381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800" b="1" dirty="0" smtClean="0">
                <a:solidFill>
                  <a:schemeClr val="bg1"/>
                </a:solidFill>
                <a:latin typeface="TeleGrotesk Headline Ultra" pitchFamily="2" charset="0"/>
              </a:rPr>
              <a:t>Настя </a:t>
            </a:r>
            <a:endParaRPr lang="de-DE" sz="8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sp>
        <p:nvSpPr>
          <p:cNvPr id="68" name="Rectangle 7"/>
          <p:cNvSpPr>
            <a:spLocks noChangeArrowheads="1"/>
          </p:cNvSpPr>
          <p:nvPr/>
        </p:nvSpPr>
        <p:spPr bwMode="auto">
          <a:xfrm>
            <a:off x="7099368" y="1272538"/>
            <a:ext cx="2397057" cy="2525938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8" tIns="45714" rIns="91428" bIns="45714" anchor="ctr"/>
          <a:lstStyle/>
          <a:p>
            <a:pPr algn="ctr" defTabSz="457142" fontAlgn="base"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FFFFFF"/>
              </a:solidFill>
              <a:cs typeface="Arial Unicode MS" pitchFamily="34" charset="-128"/>
            </a:endParaRPr>
          </a:p>
        </p:txBody>
      </p:sp>
      <p:sp>
        <p:nvSpPr>
          <p:cNvPr id="69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7212657" y="1541543"/>
            <a:ext cx="1109381" cy="141787"/>
          </a:xfrm>
          <a:prstGeom prst="rect">
            <a:avLst/>
          </a:prstGeom>
          <a:solidFill>
            <a:srgbClr val="FFC000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700" b="1" dirty="0" smtClean="0">
                <a:solidFill>
                  <a:schemeClr val="bg1"/>
                </a:solidFill>
                <a:latin typeface="TeleGrotesk Headline Ultra" pitchFamily="2" charset="0"/>
              </a:rPr>
              <a:t>Руководитель версии</a:t>
            </a:r>
            <a:endParaRPr lang="de-DE" sz="7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sp>
        <p:nvSpPr>
          <p:cNvPr id="70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7189502" y="2331866"/>
            <a:ext cx="1109381" cy="141787"/>
          </a:xfrm>
          <a:prstGeom prst="rect">
            <a:avLst/>
          </a:prstGeom>
          <a:solidFill>
            <a:srgbClr val="FFC000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800" b="1" dirty="0" smtClean="0">
                <a:solidFill>
                  <a:schemeClr val="bg1"/>
                </a:solidFill>
                <a:latin typeface="TeleGrotesk Headline Ultra" pitchFamily="2" charset="0"/>
              </a:rPr>
              <a:t>Олеся</a:t>
            </a:r>
            <a:endParaRPr lang="de-DE" sz="8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sp>
        <p:nvSpPr>
          <p:cNvPr id="71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7581231" y="1297389"/>
            <a:ext cx="1511004" cy="141787"/>
          </a:xfrm>
          <a:prstGeom prst="rect">
            <a:avLst/>
          </a:prstGeom>
          <a:solidFill>
            <a:srgbClr val="FFC000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1100" b="1" dirty="0" smtClean="0">
                <a:solidFill>
                  <a:schemeClr val="bg1"/>
                </a:solidFill>
                <a:latin typeface="TeleGrotesk Headline Ultra" pitchFamily="2" charset="0"/>
              </a:rPr>
              <a:t>Следующая</a:t>
            </a:r>
            <a:r>
              <a:rPr lang="en-US" sz="1100" b="1" dirty="0" smtClean="0">
                <a:solidFill>
                  <a:schemeClr val="bg1"/>
                </a:solidFill>
                <a:latin typeface="TeleGrotesk Headline Ultra" pitchFamily="2" charset="0"/>
              </a:rPr>
              <a:t> </a:t>
            </a:r>
            <a:r>
              <a:rPr lang="ru-RU" sz="1100" b="1" dirty="0" smtClean="0">
                <a:solidFill>
                  <a:schemeClr val="bg1"/>
                </a:solidFill>
                <a:latin typeface="TeleGrotesk Headline Ultra" pitchFamily="2" charset="0"/>
              </a:rPr>
              <a:t>версия</a:t>
            </a:r>
            <a:endParaRPr lang="de-DE" sz="11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sp>
        <p:nvSpPr>
          <p:cNvPr id="72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8322038" y="1612436"/>
            <a:ext cx="1009769" cy="141787"/>
          </a:xfrm>
          <a:prstGeom prst="rect">
            <a:avLst/>
          </a:prstGeom>
          <a:solidFill>
            <a:srgbClr val="FFC000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700" b="1" dirty="0" err="1" smtClean="0">
                <a:solidFill>
                  <a:schemeClr val="bg1"/>
                </a:solidFill>
                <a:latin typeface="TeleGrotesk Headline Ultra" pitchFamily="2" charset="0"/>
              </a:rPr>
              <a:t>Тестэксперт</a:t>
            </a:r>
            <a:endParaRPr lang="de-DE" sz="7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sp>
        <p:nvSpPr>
          <p:cNvPr id="73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8272231" y="2351277"/>
            <a:ext cx="1109381" cy="141787"/>
          </a:xfrm>
          <a:prstGeom prst="rect">
            <a:avLst/>
          </a:prstGeom>
          <a:solidFill>
            <a:srgbClr val="FFC000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800" b="1" dirty="0" smtClean="0">
                <a:solidFill>
                  <a:schemeClr val="bg1"/>
                </a:solidFill>
                <a:latin typeface="TeleGrotesk Headline Ultra" pitchFamily="2" charset="0"/>
              </a:rPr>
              <a:t>Катя </a:t>
            </a:r>
            <a:endParaRPr lang="de-DE" sz="8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pic>
        <p:nvPicPr>
          <p:cNvPr id="74" name="Grafik 4">
            <a:extLst>
              <a:ext uri="{FF2B5EF4-FFF2-40B4-BE49-F238E27FC236}">
                <a16:creationId xmlns="" xmlns:a16="http://schemas.microsoft.com/office/drawing/2014/main" id="{9BFF3403-1C48-4BA3-B927-650127F1E8C5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327980">
            <a:off x="7425860" y="1703111"/>
            <a:ext cx="527515" cy="62875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5" name="Grafik 11">
            <a:extLst>
              <a:ext uri="{FF2B5EF4-FFF2-40B4-BE49-F238E27FC236}">
                <a16:creationId xmlns="" xmlns:a16="http://schemas.microsoft.com/office/drawing/2014/main" id="{32168EDC-6F76-4EBC-89EB-6C5ACECB982D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329926">
            <a:off x="8547329" y="1811535"/>
            <a:ext cx="544906" cy="5327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pSp>
        <p:nvGrpSpPr>
          <p:cNvPr id="76" name="Gruppieren 188">
            <a:extLst>
              <a:ext uri="{FF2B5EF4-FFF2-40B4-BE49-F238E27FC236}">
                <a16:creationId xmlns="" xmlns:a16="http://schemas.microsoft.com/office/drawing/2014/main" id="{5717B482-EAEF-4919-AD74-3896D00AB056}"/>
              </a:ext>
            </a:extLst>
          </p:cNvPr>
          <p:cNvGrpSpPr/>
          <p:nvPr/>
        </p:nvGrpSpPr>
        <p:grpSpPr>
          <a:xfrm>
            <a:off x="5616163" y="790762"/>
            <a:ext cx="1988988" cy="1660311"/>
            <a:chOff x="529832" y="4003020"/>
            <a:chExt cx="1988990" cy="2710603"/>
          </a:xfrm>
        </p:grpSpPr>
        <p:grpSp>
          <p:nvGrpSpPr>
            <p:cNvPr id="77" name="Gruppieren 192">
              <a:extLst>
                <a:ext uri="{FF2B5EF4-FFF2-40B4-BE49-F238E27FC236}">
                  <a16:creationId xmlns="" xmlns:a16="http://schemas.microsoft.com/office/drawing/2014/main" id="{DA0ECC00-EBA6-49B4-AB3B-2553B3F748EF}"/>
                </a:ext>
              </a:extLst>
            </p:cNvPr>
            <p:cNvGrpSpPr/>
            <p:nvPr/>
          </p:nvGrpSpPr>
          <p:grpSpPr>
            <a:xfrm>
              <a:off x="563348" y="4003020"/>
              <a:ext cx="1955474" cy="2710603"/>
              <a:chOff x="1777639" y="1678831"/>
              <a:chExt cx="2287199" cy="1974481"/>
            </a:xfrm>
          </p:grpSpPr>
          <p:sp>
            <p:nvSpPr>
              <p:cNvPr id="79" name="Inhaltsplatzhalter 6">
                <a:extLst>
                  <a:ext uri="{FF2B5EF4-FFF2-40B4-BE49-F238E27FC236}">
                    <a16:creationId xmlns="" xmlns:a16="http://schemas.microsoft.com/office/drawing/2014/main" id="{B9309B06-14D7-4C3C-893E-93120214D239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1777639" y="1678831"/>
                <a:ext cx="1237345" cy="1403912"/>
              </a:xfrm>
              <a:prstGeom prst="rect">
                <a:avLst/>
              </a:prstGeom>
              <a:noFill/>
              <a:ln w="2222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108000" tIns="72000" rIns="72000" bIns="72000" numCol="1" anchor="t" anchorCtr="0" compatLnSpc="1">
                <a:prstTxWarp prst="textNoShape">
                  <a:avLst/>
                </a:prstTxWarp>
              </a:bodyPr>
              <a:lstStyle>
                <a:lvl1pPr algn="l" defTabSz="576226" rtl="0" eaLnBrk="1" fontAlgn="base" hangingPunct="1">
                  <a:lnSpc>
                    <a:spcPct val="104000"/>
                  </a:lnSpc>
                  <a:spcBef>
                    <a:spcPts val="120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itchFamily="2" charset="2"/>
                  <a:defRPr sz="1800" kern="1200">
                    <a:solidFill>
                      <a:srgbClr val="4B4B4B"/>
                    </a:solidFill>
                    <a:latin typeface="Tele-GroteskFet" pitchFamily="2" charset="0"/>
                    <a:ea typeface="+mn-ea"/>
                    <a:cs typeface="+mn-cs"/>
                  </a:defRPr>
                </a:lvl1pPr>
                <a:lvl2pPr marL="1588" algn="l" defTabSz="576226" rtl="0" eaLnBrk="1" fontAlgn="base" hangingPunct="1">
                  <a:lnSpc>
                    <a:spcPct val="104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itchFamily="2" charset="2"/>
                  <a:defRPr sz="1800" kern="1200">
                    <a:solidFill>
                      <a:srgbClr val="4B4B4B"/>
                    </a:solidFill>
                    <a:latin typeface="+mn-lt"/>
                    <a:ea typeface="+mn-ea"/>
                    <a:cs typeface="+mn-cs"/>
                  </a:defRPr>
                </a:lvl2pPr>
                <a:lvl3pPr marL="225410" indent="-220649" algn="l" defTabSz="576226" rtl="0" eaLnBrk="1" fontAlgn="base" hangingPunct="1">
                  <a:lnSpc>
                    <a:spcPct val="104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1"/>
                  </a:buClr>
                  <a:buSzPct val="70000"/>
                  <a:buFont typeface="Wingdings 2" panose="05020102010507070707" pitchFamily="18" charset="2"/>
                  <a:buChar char="¡"/>
                  <a:defRPr sz="1800" kern="1200">
                    <a:solidFill>
                      <a:srgbClr val="4B4B4B"/>
                    </a:solidFill>
                    <a:latin typeface="+mn-lt"/>
                    <a:ea typeface="+mn-ea"/>
                    <a:cs typeface="+mn-cs"/>
                  </a:defRPr>
                </a:lvl3pPr>
                <a:lvl4pPr marL="444471" indent="-215886" algn="l" defTabSz="576226" rtl="0" eaLnBrk="1" fontAlgn="base" hangingPunct="1">
                  <a:lnSpc>
                    <a:spcPct val="104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chemeClr val="tx1"/>
                  </a:buClr>
                  <a:buSzPct val="70000"/>
                  <a:buFont typeface="Wingdings 2" panose="05020102010507070707" pitchFamily="18" charset="2"/>
                  <a:buChar char="¡"/>
                  <a:defRPr sz="1800" kern="1200">
                    <a:solidFill>
                      <a:srgbClr val="4B4B4B"/>
                    </a:solidFill>
                    <a:latin typeface="+mn-lt"/>
                    <a:ea typeface="+mn-ea"/>
                    <a:cs typeface="+mn-cs"/>
                  </a:defRPr>
                </a:lvl4pPr>
                <a:lvl5pPr marL="677820" indent="-231761" algn="l" defTabSz="576226" rtl="0" eaLnBrk="1" fontAlgn="base" hangingPunct="1">
                  <a:lnSpc>
                    <a:spcPct val="104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chemeClr val="tx1"/>
                  </a:buClr>
                  <a:buSzPct val="70000"/>
                  <a:buFont typeface="Wingdings 2" panose="05020102010507070707" pitchFamily="18" charset="2"/>
                  <a:buChar char="¡"/>
                  <a:defRPr sz="1800" kern="1200">
                    <a:solidFill>
                      <a:srgbClr val="4B4B4B"/>
                    </a:solidFill>
                    <a:latin typeface="+mn-lt"/>
                    <a:ea typeface="+mn-ea"/>
                    <a:cs typeface="+mn-cs"/>
                  </a:defRPr>
                </a:lvl5pPr>
                <a:lvl6pPr marL="2514440" indent="-228585" algn="l" defTabSz="457171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09" indent="-228585" algn="l" defTabSz="457171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780" indent="-228585" algn="l" defTabSz="457171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951" indent="-228585" algn="l" defTabSz="457171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buClr>
                    <a:srgbClr val="E20074"/>
                  </a:buClr>
                </a:pPr>
                <a:endParaRPr lang="en-US" sz="900" dirty="0"/>
              </a:p>
            </p:txBody>
          </p:sp>
          <p:sp>
            <p:nvSpPr>
              <p:cNvPr id="80" name="Rectangle 5">
                <a:extLst>
                  <a:ext uri="{FF2B5EF4-FFF2-40B4-BE49-F238E27FC236}">
                    <a16:creationId xmlns="" xmlns:a16="http://schemas.microsoft.com/office/drawing/2014/main" id="{5491723A-A7FA-4D56-BEED-8605185319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0362" y="1678832"/>
                <a:ext cx="1224622" cy="233635"/>
              </a:xfrm>
              <a:prstGeom prst="rect">
                <a:avLst/>
              </a:prstGeom>
              <a:solidFill>
                <a:schemeClr val="tx2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108000" tIns="36000" rIns="36000" bIns="36000" anchor="ctr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ru-RU" sz="900" dirty="0" err="1" smtClean="0">
                    <a:solidFill>
                      <a:srgbClr val="FFFFFF"/>
                    </a:solidFill>
                    <a:latin typeface="TeleGrotesk Headline Ultra" pitchFamily="2" charset="0"/>
                    <a:cs typeface="Arial Unicode MS" panose="020B0604020202020204" pitchFamily="34" charset="-128"/>
                  </a:rPr>
                  <a:t>Автоматизатор</a:t>
                </a:r>
                <a:r>
                  <a:rPr lang="en-US" sz="900" dirty="0" smtClean="0">
                    <a:solidFill>
                      <a:srgbClr val="FFFFFF"/>
                    </a:solidFill>
                    <a:latin typeface="TeleGrotesk Headline Ultra" pitchFamily="2" charset="0"/>
                    <a:cs typeface="Arial Unicode MS" panose="020B0604020202020204" pitchFamily="34" charset="-128"/>
                  </a:rPr>
                  <a:t> </a:t>
                </a:r>
                <a:endParaRPr lang="en-US" sz="900" dirty="0">
                  <a:solidFill>
                    <a:srgbClr val="FFFFFF"/>
                  </a:solidFill>
                  <a:latin typeface="TeleGrotesk Headline Ultra" pitchFamily="2" charset="0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1" name="Textfeld 197">
                <a:extLst>
                  <a:ext uri="{FF2B5EF4-FFF2-40B4-BE49-F238E27FC236}">
                    <a16:creationId xmlns="" xmlns:a16="http://schemas.microsoft.com/office/drawing/2014/main" id="{FC733D1B-9849-41FE-A31E-E7184C983C01}"/>
                  </a:ext>
                </a:extLst>
              </p:cNvPr>
              <p:cNvSpPr txBox="1"/>
              <p:nvPr/>
            </p:nvSpPr>
            <p:spPr bwMode="gray">
              <a:xfrm>
                <a:off x="2767260" y="3429761"/>
                <a:ext cx="1297578" cy="223551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  <p:txBody>
              <a:bodyPr vert="horz" wrap="square" lIns="72000" tIns="36000" rIns="72000" bIns="36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503892" indent="-503892" algn="ctr" defTabSz="1151860" eaLnBrk="0" hangingPunct="0">
                  <a:defRPr/>
                </a:pPr>
                <a:endParaRPr lang="de-DE" sz="900" dirty="0">
                  <a:solidFill>
                    <a:srgbClr val="FF0066"/>
                  </a:solidFill>
                </a:endParaRPr>
              </a:p>
            </p:txBody>
          </p:sp>
        </p:grpSp>
        <p:sp>
          <p:nvSpPr>
            <p:cNvPr id="78" name="Textfeld 194">
              <a:extLst>
                <a:ext uri="{FF2B5EF4-FFF2-40B4-BE49-F238E27FC236}">
                  <a16:creationId xmlns="" xmlns:a16="http://schemas.microsoft.com/office/drawing/2014/main" id="{731B7ACF-4D62-4E88-8346-F94BBE2ECC98}"/>
                </a:ext>
              </a:extLst>
            </p:cNvPr>
            <p:cNvSpPr txBox="1"/>
            <p:nvPr/>
          </p:nvSpPr>
          <p:spPr bwMode="gray">
            <a:xfrm>
              <a:off x="529832" y="5640231"/>
              <a:ext cx="1109382" cy="23148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ru-RU" sz="800" b="1" dirty="0" smtClean="0">
                  <a:solidFill>
                    <a:srgbClr val="E20074"/>
                  </a:solidFill>
                  <a:latin typeface="TeleGrotesk Headline Ultra" pitchFamily="2" charset="0"/>
                </a:rPr>
                <a:t>Алёна</a:t>
              </a:r>
              <a:endParaRPr lang="de-DE" sz="800" b="1" dirty="0">
                <a:solidFill>
                  <a:srgbClr val="E20074"/>
                </a:solidFill>
                <a:latin typeface="TeleGrotesk Headline Ultra" pitchFamily="2" charset="0"/>
              </a:endParaRPr>
            </a:p>
            <a:p>
              <a:pPr marL="0" indent="0">
                <a:buNone/>
              </a:pPr>
              <a:endParaRPr lang="de-DE" sz="800" dirty="0">
                <a:latin typeface="TeleGrotesk Headline Ultra" pitchFamily="2" charset="0"/>
              </a:endParaRPr>
            </a:p>
            <a:p>
              <a:pPr marL="0" indent="0">
                <a:buNone/>
              </a:pPr>
              <a:endParaRPr lang="de-DE" sz="800" dirty="0">
                <a:latin typeface="TeleGrotesk Headline Ultra" pitchFamily="2" charset="0"/>
              </a:endParaRPr>
            </a:p>
          </p:txBody>
        </p:sp>
      </p:grpSp>
      <p:pic>
        <p:nvPicPr>
          <p:cNvPr id="83" name="Grafik 12">
            <a:extLst>
              <a:ext uri="{FF2B5EF4-FFF2-40B4-BE49-F238E27FC236}">
                <a16:creationId xmlns="" xmlns:a16="http://schemas.microsoft.com/office/drawing/2014/main" id="{4A41389F-12C6-4649-8E0F-8A4F42429D67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3361" y="1084878"/>
            <a:ext cx="680603" cy="70871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4" name="Grafik 3">
            <a:extLst>
              <a:ext uri="{FF2B5EF4-FFF2-40B4-BE49-F238E27FC236}">
                <a16:creationId xmlns="" xmlns:a16="http://schemas.microsoft.com/office/drawing/2014/main" id="{7221A308-F3FB-4CE6-AF24-3C15C8672AF5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45"/>
          <a:stretch/>
        </p:blipFill>
        <p:spPr>
          <a:xfrm rot="21097346">
            <a:off x="888885" y="2774471"/>
            <a:ext cx="614607" cy="59262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86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3595558" y="2286391"/>
            <a:ext cx="1417333" cy="7089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700" b="1" dirty="0" smtClean="0">
                <a:solidFill>
                  <a:schemeClr val="bg1"/>
                </a:solidFill>
                <a:latin typeface="TeleGrotesk Headline Ultra" pitchFamily="2" charset="0"/>
              </a:rPr>
              <a:t>Руководитель версии</a:t>
            </a:r>
            <a:endParaRPr lang="de-DE" sz="7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pic>
        <p:nvPicPr>
          <p:cNvPr id="89" name="Grafik 20">
            <a:extLst>
              <a:ext uri="{FF2B5EF4-FFF2-40B4-BE49-F238E27FC236}">
                <a16:creationId xmlns="" xmlns:a16="http://schemas.microsoft.com/office/drawing/2014/main" id="{01EA72E9-14C4-4DA0-BB69-1AE49ED9FA86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84316">
            <a:off x="5051133" y="3642177"/>
            <a:ext cx="616683" cy="64882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2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4857840" y="3450022"/>
            <a:ext cx="1009769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700" b="1" dirty="0" err="1" smtClean="0">
                <a:solidFill>
                  <a:schemeClr val="bg1"/>
                </a:solidFill>
                <a:latin typeface="TeleGrotesk Headline Ultra" pitchFamily="2" charset="0"/>
              </a:rPr>
              <a:t>Тестировщик</a:t>
            </a:r>
            <a:endParaRPr lang="de-DE" sz="7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pic>
        <p:nvPicPr>
          <p:cNvPr id="94" name="Grafik 6">
            <a:extLst>
              <a:ext uri="{FF2B5EF4-FFF2-40B4-BE49-F238E27FC236}">
                <a16:creationId xmlns="" xmlns:a16="http://schemas.microsoft.com/office/drawing/2014/main" id="{77682115-C16A-4A70-910C-A82C9CBBB8F3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242534">
            <a:off x="1864283" y="3136891"/>
            <a:ext cx="618260" cy="65328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6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1735776" y="2928997"/>
            <a:ext cx="1009769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700" b="1" dirty="0" err="1" smtClean="0">
                <a:solidFill>
                  <a:schemeClr val="bg1"/>
                </a:solidFill>
                <a:latin typeface="TeleGrotesk Headline Ultra" pitchFamily="2" charset="0"/>
              </a:rPr>
              <a:t>Тестировщик</a:t>
            </a:r>
            <a:endParaRPr lang="de-DE" sz="7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sp>
        <p:nvSpPr>
          <p:cNvPr id="97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2062349" y="5118377"/>
            <a:ext cx="1109381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800" b="1" dirty="0" smtClean="0">
                <a:solidFill>
                  <a:schemeClr val="bg1"/>
                </a:solidFill>
                <a:latin typeface="TeleGrotesk Headline Ultra" pitchFamily="2" charset="0"/>
              </a:rPr>
              <a:t>Марина </a:t>
            </a:r>
            <a:endParaRPr lang="de-DE" sz="8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pic>
        <p:nvPicPr>
          <p:cNvPr id="98" name="Grafik 17">
            <a:extLst>
              <a:ext uri="{FF2B5EF4-FFF2-40B4-BE49-F238E27FC236}">
                <a16:creationId xmlns="" xmlns:a16="http://schemas.microsoft.com/office/drawing/2014/main" id="{47593CEB-FA38-43C9-A7E5-EA08788D6BF3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64891">
            <a:off x="7363358" y="2801025"/>
            <a:ext cx="610792" cy="6206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00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7163869" y="2567672"/>
            <a:ext cx="1009769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700" b="1" dirty="0" err="1" smtClean="0">
                <a:solidFill>
                  <a:schemeClr val="bg1"/>
                </a:solidFill>
                <a:latin typeface="TeleGrotesk Headline Ultra" pitchFamily="2" charset="0"/>
              </a:rPr>
              <a:t>Тестировщик</a:t>
            </a:r>
            <a:endParaRPr lang="de-DE" sz="7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sp>
        <p:nvSpPr>
          <p:cNvPr id="101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7156518" y="3450022"/>
            <a:ext cx="1009769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700" b="1" dirty="0" smtClean="0">
                <a:solidFill>
                  <a:schemeClr val="bg1"/>
                </a:solidFill>
                <a:latin typeface="TeleGrotesk Headline Ultra" pitchFamily="2" charset="0"/>
              </a:rPr>
              <a:t>Маша</a:t>
            </a: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pic>
        <p:nvPicPr>
          <p:cNvPr id="102" name="Grafik 90">
            <a:extLst>
              <a:ext uri="{FF2B5EF4-FFF2-40B4-BE49-F238E27FC236}">
                <a16:creationId xmlns="" xmlns:a16="http://schemas.microsoft.com/office/drawing/2014/main" id="{73019884-0F43-45F1-943F-292F7073AF2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 rot="21385443">
            <a:off x="8506460" y="2796241"/>
            <a:ext cx="591855" cy="672562"/>
          </a:xfrm>
          <a:prstGeom prst="rect">
            <a:avLst/>
          </a:prstGeom>
        </p:spPr>
      </p:pic>
      <p:pic>
        <p:nvPicPr>
          <p:cNvPr id="103" name="Picture 1" descr="524970653.jpeg">
            <a:extLst>
              <a:ext uri="{FF2B5EF4-FFF2-40B4-BE49-F238E27FC236}">
                <a16:creationId xmlns="" xmlns:a16="http://schemas.microsoft.com/office/drawing/2014/main" id="{19705FA6-47F6-479B-88BE-FC960FA769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290481">
            <a:off x="4048206" y="3744505"/>
            <a:ext cx="516276" cy="604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6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4606394" y="6473500"/>
            <a:ext cx="1009769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700" b="1" dirty="0" smtClean="0">
                <a:solidFill>
                  <a:schemeClr val="bg1"/>
                </a:solidFill>
                <a:latin typeface="TeleGrotesk Headline Ultra" pitchFamily="2" charset="0"/>
              </a:rPr>
              <a:t>Алина</a:t>
            </a:r>
            <a:endParaRPr lang="de-DE" sz="7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sp>
        <p:nvSpPr>
          <p:cNvPr id="107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8297502" y="3479199"/>
            <a:ext cx="1009769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700" b="1" dirty="0" smtClean="0">
                <a:solidFill>
                  <a:schemeClr val="bg1"/>
                </a:solidFill>
                <a:latin typeface="TeleGrotesk Headline Ultra" pitchFamily="2" charset="0"/>
              </a:rPr>
              <a:t>Дмитрий</a:t>
            </a:r>
            <a:endParaRPr lang="de-DE" sz="7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sp>
        <p:nvSpPr>
          <p:cNvPr id="108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8298883" y="2590221"/>
            <a:ext cx="1009769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700" b="1" dirty="0" err="1" smtClean="0">
                <a:solidFill>
                  <a:schemeClr val="bg1"/>
                </a:solidFill>
                <a:latin typeface="TeleGrotesk Headline Ultra" pitchFamily="2" charset="0"/>
              </a:rPr>
              <a:t>Тестировщик</a:t>
            </a:r>
            <a:endParaRPr lang="de-DE" sz="7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pic>
        <p:nvPicPr>
          <p:cNvPr id="82" name="Picture 7" descr="https://it-conf.ru/files/autoupload/61/67/46/42dizov538622.png.%5bue%5d.jpg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833" y="4702722"/>
            <a:ext cx="1496735" cy="2049718"/>
          </a:xfrm>
          <a:prstGeom prst="rect">
            <a:avLst/>
          </a:prstGeom>
          <a:noFill/>
          <a:effectLst>
            <a:outerShdw blurRad="50800" dist="50800" dir="5400000" algn="ctr" rotWithShape="0">
              <a:schemeClr val="tx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Rectangle 2"/>
          <p:cNvSpPr/>
          <p:nvPr/>
        </p:nvSpPr>
        <p:spPr>
          <a:xfrm>
            <a:off x="2472560" y="4701069"/>
            <a:ext cx="17963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rgbClr val="E20074"/>
                </a:solidFill>
              </a:rPr>
              <a:t>Лена Светлова</a:t>
            </a:r>
            <a:endParaRPr lang="ru-RU" sz="1600" b="1" dirty="0">
              <a:solidFill>
                <a:srgbClr val="E20074"/>
              </a:solidFill>
            </a:endParaRPr>
          </a:p>
        </p:txBody>
      </p:sp>
      <p:sp>
        <p:nvSpPr>
          <p:cNvPr id="91" name="Rectangle 3"/>
          <p:cNvSpPr/>
          <p:nvPr/>
        </p:nvSpPr>
        <p:spPr>
          <a:xfrm>
            <a:off x="2313626" y="5132822"/>
            <a:ext cx="2438816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/>
              <a:t>Старший эксперт по </a:t>
            </a:r>
            <a:r>
              <a:rPr lang="ru-RU" sz="1100" dirty="0" smtClean="0"/>
              <a:t>тестированию</a:t>
            </a:r>
            <a:r>
              <a:rPr lang="en-US" sz="1100" dirty="0" smtClean="0"/>
              <a:t>,</a:t>
            </a:r>
            <a:r>
              <a:rPr lang="ru-RU" sz="1100" dirty="0" smtClean="0"/>
              <a:t> </a:t>
            </a:r>
            <a:endParaRPr lang="en-US" sz="1100" i="1" dirty="0"/>
          </a:p>
          <a:p>
            <a:r>
              <a:rPr lang="en-US" sz="1100" i="1" dirty="0"/>
              <a:t>T</a:t>
            </a:r>
            <a:r>
              <a:rPr lang="en-US" sz="1100" i="1" dirty="0" smtClean="0"/>
              <a:t>-Systems</a:t>
            </a:r>
            <a:r>
              <a:rPr lang="ru-RU" sz="1100" dirty="0" smtClean="0"/>
              <a:t> </a:t>
            </a:r>
            <a:r>
              <a:rPr lang="ru-RU" sz="1100" dirty="0"/>
              <a:t>(отделение </a:t>
            </a:r>
            <a:r>
              <a:rPr lang="ru-RU" sz="1100" dirty="0" err="1"/>
              <a:t>Deutsche</a:t>
            </a:r>
            <a:r>
              <a:rPr lang="ru-RU" sz="1100" dirty="0"/>
              <a:t> </a:t>
            </a:r>
            <a:r>
              <a:rPr lang="ru-RU" sz="1100" dirty="0" err="1"/>
              <a:t>Telekom</a:t>
            </a:r>
            <a:r>
              <a:rPr lang="ru-RU" sz="1100" dirty="0"/>
              <a:t>).</a:t>
            </a:r>
            <a:br>
              <a:rPr lang="ru-RU" sz="1100" dirty="0"/>
            </a:br>
            <a:r>
              <a:rPr lang="ru-RU" sz="1100" dirty="0"/>
              <a:t>Прошла долгий путь от </a:t>
            </a:r>
            <a:r>
              <a:rPr lang="de-DE" sz="1100" dirty="0" smtClean="0"/>
              <a:t> </a:t>
            </a:r>
            <a:r>
              <a:rPr lang="ru-RU" sz="1100" dirty="0" smtClean="0"/>
              <a:t>филолога </a:t>
            </a:r>
            <a:r>
              <a:rPr lang="ru-RU" sz="1100" dirty="0"/>
              <a:t>до начинающего </a:t>
            </a:r>
            <a:r>
              <a:rPr lang="ru-RU" sz="1100" dirty="0" err="1"/>
              <a:t>автоматизатора</a:t>
            </a:r>
            <a:r>
              <a:rPr lang="ru-RU" sz="1100" dirty="0"/>
              <a:t>.</a:t>
            </a:r>
            <a:br>
              <a:rPr lang="ru-RU" sz="1100" dirty="0"/>
            </a:br>
            <a:r>
              <a:rPr lang="ru-RU" sz="1100" dirty="0" smtClean="0"/>
              <a:t>В </a:t>
            </a:r>
            <a:r>
              <a:rPr lang="ru-RU" sz="1100" dirty="0"/>
              <a:t>тестировании с 2009 года, совмещаю обязанности заместителя руководителя тестовой команды и </a:t>
            </a:r>
            <a:r>
              <a:rPr lang="ru-RU" sz="1100" dirty="0" err="1"/>
              <a:t>тестировщика</a:t>
            </a:r>
            <a:r>
              <a:rPr lang="ru-RU" sz="1100" dirty="0"/>
              <a:t>, увлекаюсь изучением </a:t>
            </a:r>
            <a:r>
              <a:rPr lang="ru-RU" sz="1100" dirty="0" err="1"/>
              <a:t>джавы</a:t>
            </a:r>
            <a:r>
              <a:rPr lang="ru-RU" sz="1100" dirty="0" smtClean="0"/>
              <a:t>.</a:t>
            </a:r>
          </a:p>
        </p:txBody>
      </p:sp>
      <p:cxnSp>
        <p:nvCxnSpPr>
          <p:cNvPr id="5" name="Gekrümmte Verbindung 4"/>
          <p:cNvCxnSpPr/>
          <p:nvPr/>
        </p:nvCxnSpPr>
        <p:spPr>
          <a:xfrm rot="10800000" flipV="1">
            <a:off x="3021380" y="3131270"/>
            <a:ext cx="2327788" cy="1657971"/>
          </a:xfrm>
          <a:prstGeom prst="curvedConnector2">
            <a:avLst/>
          </a:prstGeom>
          <a:ln w="19050">
            <a:solidFill>
              <a:srgbClr val="00FFFF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5" name="Picture 4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474946" y="4747374"/>
            <a:ext cx="1480603" cy="2034372"/>
          </a:xfrm>
          <a:prstGeom prst="rect">
            <a:avLst/>
          </a:prstGeom>
          <a:effectLst>
            <a:outerShdw blurRad="50800" dist="50800" dir="5400000" algn="ctr" rotWithShape="0">
              <a:schemeClr val="tx2"/>
            </a:outerShdw>
          </a:effectLst>
        </p:spPr>
      </p:pic>
      <p:sp>
        <p:nvSpPr>
          <p:cNvPr id="99" name="Rectangle 12"/>
          <p:cNvSpPr/>
          <p:nvPr/>
        </p:nvSpPr>
        <p:spPr>
          <a:xfrm>
            <a:off x="7212657" y="5120122"/>
            <a:ext cx="2513956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/>
              <a:t>Старший эксперт по тестированию</a:t>
            </a:r>
            <a:r>
              <a:rPr lang="en-US" sz="1100" dirty="0"/>
              <a:t>,</a:t>
            </a:r>
            <a:r>
              <a:rPr lang="ru-RU" sz="1100" dirty="0"/>
              <a:t> </a:t>
            </a:r>
            <a:endParaRPr lang="de-DE" sz="1100" dirty="0" smtClean="0"/>
          </a:p>
          <a:p>
            <a:r>
              <a:rPr lang="de-DE" sz="1100" i="1" dirty="0"/>
              <a:t>T</a:t>
            </a:r>
            <a:r>
              <a:rPr lang="en-US" sz="1100" i="1" dirty="0" smtClean="0"/>
              <a:t>-Systems</a:t>
            </a:r>
            <a:r>
              <a:rPr lang="ru-RU" sz="1100" dirty="0" smtClean="0"/>
              <a:t> </a:t>
            </a:r>
            <a:r>
              <a:rPr lang="ru-RU" sz="1100" dirty="0"/>
              <a:t>(отделение </a:t>
            </a:r>
            <a:r>
              <a:rPr lang="ru-RU" sz="1100" dirty="0" err="1"/>
              <a:t>Deutsche</a:t>
            </a:r>
            <a:r>
              <a:rPr lang="ru-RU" sz="1100" dirty="0"/>
              <a:t> </a:t>
            </a:r>
            <a:r>
              <a:rPr lang="ru-RU" sz="1100" dirty="0" err="1"/>
              <a:t>Telekom</a:t>
            </a:r>
            <a:r>
              <a:rPr lang="ru-RU" sz="1100" dirty="0"/>
              <a:t>).</a:t>
            </a:r>
            <a:br>
              <a:rPr lang="ru-RU" sz="1100" dirty="0"/>
            </a:br>
            <a:r>
              <a:rPr lang="ru-RU" sz="1100" dirty="0" smtClean="0"/>
              <a:t>Начинала работу в компании в качестве технического писателя.</a:t>
            </a:r>
            <a:r>
              <a:rPr lang="ru-RU" sz="1100" dirty="0"/>
              <a:t/>
            </a:r>
            <a:br>
              <a:rPr lang="ru-RU" sz="1100" dirty="0"/>
            </a:br>
            <a:r>
              <a:rPr lang="ru-RU" sz="1100" dirty="0"/>
              <a:t>В тестировании с 2016 года, совмещаю обязанности руководителя версии и </a:t>
            </a:r>
            <a:r>
              <a:rPr lang="ru-RU" sz="1100" dirty="0" err="1"/>
              <a:t>тестировщика</a:t>
            </a:r>
            <a:r>
              <a:rPr lang="ru-RU" sz="1100" dirty="0"/>
              <a:t>, увлекаюсь дизайном.</a:t>
            </a:r>
          </a:p>
        </p:txBody>
      </p:sp>
      <p:sp>
        <p:nvSpPr>
          <p:cNvPr id="109" name="Rectangle 10"/>
          <p:cNvSpPr/>
          <p:nvPr/>
        </p:nvSpPr>
        <p:spPr>
          <a:xfrm>
            <a:off x="7388943" y="4619964"/>
            <a:ext cx="198130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rgbClr val="E20074"/>
                </a:solidFill>
              </a:rPr>
              <a:t>Олеся Серегина</a:t>
            </a:r>
            <a:endParaRPr lang="ru-RU" sz="1600" b="1" dirty="0">
              <a:solidFill>
                <a:srgbClr val="E20074"/>
              </a:solidFill>
            </a:endParaRPr>
          </a:p>
        </p:txBody>
      </p:sp>
      <p:sp>
        <p:nvSpPr>
          <p:cNvPr id="110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3742673" y="3556085"/>
            <a:ext cx="1009769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700" b="1" dirty="0" err="1" smtClean="0">
                <a:solidFill>
                  <a:schemeClr val="bg1"/>
                </a:solidFill>
                <a:latin typeface="TeleGrotesk Headline Ultra" pitchFamily="2" charset="0"/>
              </a:rPr>
              <a:t>Тестировщик</a:t>
            </a:r>
            <a:endParaRPr lang="de-DE" sz="7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sp>
        <p:nvSpPr>
          <p:cNvPr id="111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3769014" y="4370629"/>
            <a:ext cx="1109381" cy="10502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800" b="1" dirty="0" err="1" smtClean="0">
                <a:solidFill>
                  <a:schemeClr val="bg1"/>
                </a:solidFill>
                <a:latin typeface="TeleGrotesk Headline Ultra" pitchFamily="2" charset="0"/>
              </a:rPr>
              <a:t>алина</a:t>
            </a:r>
            <a:r>
              <a:rPr lang="ru-RU" sz="800" b="1" dirty="0" smtClean="0">
                <a:solidFill>
                  <a:schemeClr val="bg1"/>
                </a:solidFill>
                <a:latin typeface="TeleGrotesk Headline Ultra" pitchFamily="2" charset="0"/>
              </a:rPr>
              <a:t> </a:t>
            </a:r>
            <a:endParaRPr lang="de-DE" sz="8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sp>
        <p:nvSpPr>
          <p:cNvPr id="112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4788448" y="4288863"/>
            <a:ext cx="1109381" cy="10502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800" b="1" dirty="0" err="1" smtClean="0">
                <a:solidFill>
                  <a:schemeClr val="bg1"/>
                </a:solidFill>
                <a:latin typeface="TeleGrotesk Headline Ultra" pitchFamily="2" charset="0"/>
              </a:rPr>
              <a:t>сэсэг</a:t>
            </a:r>
            <a:r>
              <a:rPr lang="ru-RU" sz="800" b="1" dirty="0" smtClean="0">
                <a:solidFill>
                  <a:schemeClr val="bg1"/>
                </a:solidFill>
                <a:latin typeface="TeleGrotesk Headline Ultra" pitchFamily="2" charset="0"/>
              </a:rPr>
              <a:t> </a:t>
            </a:r>
            <a:endParaRPr lang="de-DE" sz="8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sp>
        <p:nvSpPr>
          <p:cNvPr id="116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630996" y="3392641"/>
            <a:ext cx="1109381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800" b="1" dirty="0" smtClean="0">
                <a:solidFill>
                  <a:schemeClr val="bg1"/>
                </a:solidFill>
                <a:latin typeface="TeleGrotesk Headline Ultra" pitchFamily="2" charset="0"/>
              </a:rPr>
              <a:t>Настя </a:t>
            </a:r>
            <a:endParaRPr lang="de-DE" sz="8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sp>
        <p:nvSpPr>
          <p:cNvPr id="117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1724816" y="3818469"/>
            <a:ext cx="1109381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800" b="1" dirty="0" smtClean="0">
                <a:solidFill>
                  <a:schemeClr val="bg1"/>
                </a:solidFill>
                <a:latin typeface="TeleGrotesk Headline Ultra" pitchFamily="2" charset="0"/>
              </a:rPr>
              <a:t>марина </a:t>
            </a:r>
            <a:endParaRPr lang="de-DE" sz="8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  <p:cxnSp>
        <p:nvCxnSpPr>
          <p:cNvPr id="48185" name="Gekrümmte Verbindung 48184"/>
          <p:cNvCxnSpPr>
            <a:stCxn id="74" idx="1"/>
          </p:cNvCxnSpPr>
          <p:nvPr/>
        </p:nvCxnSpPr>
        <p:spPr>
          <a:xfrm rot="10800000" flipH="1" flipV="1">
            <a:off x="7426685" y="2038338"/>
            <a:ext cx="895350" cy="2709036"/>
          </a:xfrm>
          <a:prstGeom prst="curvedConnector4">
            <a:avLst>
              <a:gd name="adj1" fmla="val -97873"/>
              <a:gd name="adj2" fmla="val 70888"/>
            </a:avLst>
          </a:prstGeom>
          <a:ln w="19050">
            <a:solidFill>
              <a:srgbClr val="00FFFF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5" name="Textfeld 194">
            <a:extLst>
              <a:ext uri="{FF2B5EF4-FFF2-40B4-BE49-F238E27FC236}">
                <a16:creationId xmlns="" xmlns:a16="http://schemas.microsoft.com/office/drawing/2014/main" id="{731B7ACF-4D62-4E88-8346-F94BBE2ECC98}"/>
              </a:ext>
            </a:extLst>
          </p:cNvPr>
          <p:cNvSpPr txBox="1"/>
          <p:nvPr/>
        </p:nvSpPr>
        <p:spPr bwMode="gray">
          <a:xfrm>
            <a:off x="3643061" y="3167735"/>
            <a:ext cx="1109381" cy="1417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ru-RU" sz="800" b="1" dirty="0" smtClean="0">
                <a:solidFill>
                  <a:schemeClr val="bg1"/>
                </a:solidFill>
                <a:latin typeface="TeleGrotesk Headline Ultra" pitchFamily="2" charset="0"/>
              </a:rPr>
              <a:t>Лина </a:t>
            </a:r>
            <a:endParaRPr lang="de-DE" sz="800" b="1" dirty="0">
              <a:solidFill>
                <a:schemeClr val="bg1"/>
              </a:solidFill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  <a:p>
            <a:pPr marL="0" indent="0">
              <a:buNone/>
            </a:pPr>
            <a:endParaRPr lang="de-DE" sz="800" dirty="0">
              <a:latin typeface="TeleGrotesk Headline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2641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90" y="947280"/>
          <a:ext cx="1388" cy="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582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947280"/>
                        <a:ext cx="1388" cy="1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180" name="Picture 5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90" y="947281"/>
            <a:ext cx="2778" cy="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3</a:t>
            </a:fld>
            <a:endParaRPr lang="de-DE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169" y="9523"/>
            <a:ext cx="10076456" cy="674914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8" tIns="45714" rIns="91428" bIns="45714" anchor="ctr"/>
          <a:lstStyle/>
          <a:p>
            <a:pPr algn="ctr" defTabSz="457142" fontAlgn="base"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FFFFFF"/>
              </a:solidFill>
              <a:cs typeface="Arial Unicode MS" pitchFamily="34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4000" b="1" dirty="0" smtClean="0">
                <a:solidFill>
                  <a:schemeClr val="bg1"/>
                </a:solidFill>
              </a:rPr>
              <a:t>Статика </a:t>
            </a:r>
            <a:r>
              <a:rPr lang="ru-RU" sz="4000" b="1" dirty="0" smtClean="0">
                <a:solidFill>
                  <a:schemeClr val="bg1"/>
                </a:solidFill>
                <a:sym typeface="Wingdings" panose="05000000000000000000" pitchFamily="2" charset="2"/>
              </a:rPr>
              <a:t></a:t>
            </a:r>
            <a:r>
              <a:rPr lang="en-US" sz="4000" b="1" dirty="0" smtClean="0">
                <a:solidFill>
                  <a:schemeClr val="bg1"/>
                </a:solidFill>
                <a:sym typeface="Wingdings" panose="05000000000000000000" pitchFamily="2" charset="2"/>
              </a:rPr>
              <a:t> </a:t>
            </a:r>
            <a:r>
              <a:rPr lang="ru-RU" sz="4000" b="1" dirty="0" smtClean="0">
                <a:solidFill>
                  <a:schemeClr val="bg1"/>
                </a:solidFill>
                <a:sym typeface="Wingdings" panose="05000000000000000000" pitchFamily="2" charset="2"/>
              </a:rPr>
              <a:t>Хаос</a:t>
            </a:r>
            <a:endParaRPr lang="ru-RU" sz="4000" b="1" dirty="0">
              <a:solidFill>
                <a:schemeClr val="bg1"/>
              </a:solidFill>
            </a:endParaRPr>
          </a:p>
        </p:txBody>
      </p:sp>
      <p:pic>
        <p:nvPicPr>
          <p:cNvPr id="702467" name="Picture 3" descr="C:\Users\kea1\Desktop\f3tiu4zw38165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1849" y="6980111"/>
            <a:ext cx="701041" cy="405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 71"/>
          <p:cNvSpPr>
            <a:spLocks/>
          </p:cNvSpPr>
          <p:nvPr/>
        </p:nvSpPr>
        <p:spPr bwMode="auto">
          <a:xfrm>
            <a:off x="4057388" y="2265750"/>
            <a:ext cx="1175656" cy="311113"/>
          </a:xfrm>
          <a:custGeom>
            <a:avLst/>
            <a:gdLst>
              <a:gd name="T0" fmla="*/ 560 w 747"/>
              <a:gd name="T1" fmla="*/ 0 h 374"/>
              <a:gd name="T2" fmla="*/ 560 w 747"/>
              <a:gd name="T3" fmla="*/ 134 h 374"/>
              <a:gd name="T4" fmla="*/ 54 w 747"/>
              <a:gd name="T5" fmla="*/ 134 h 374"/>
              <a:gd name="T6" fmla="*/ 0 w 747"/>
              <a:gd name="T7" fmla="*/ 187 h 374"/>
              <a:gd name="T8" fmla="*/ 54 w 747"/>
              <a:gd name="T9" fmla="*/ 240 h 374"/>
              <a:gd name="T10" fmla="*/ 560 w 747"/>
              <a:gd name="T11" fmla="*/ 240 h 374"/>
              <a:gd name="T12" fmla="*/ 560 w 747"/>
              <a:gd name="T13" fmla="*/ 374 h 374"/>
              <a:gd name="T14" fmla="*/ 747 w 747"/>
              <a:gd name="T15" fmla="*/ 187 h 374"/>
              <a:gd name="T16" fmla="*/ 560 w 747"/>
              <a:gd name="T17" fmla="*/ 0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47" h="374">
                <a:moveTo>
                  <a:pt x="560" y="0"/>
                </a:moveTo>
                <a:cubicBezTo>
                  <a:pt x="560" y="134"/>
                  <a:pt x="560" y="134"/>
                  <a:pt x="560" y="134"/>
                </a:cubicBezTo>
                <a:cubicBezTo>
                  <a:pt x="54" y="134"/>
                  <a:pt x="54" y="134"/>
                  <a:pt x="54" y="134"/>
                </a:cubicBezTo>
                <a:cubicBezTo>
                  <a:pt x="24" y="134"/>
                  <a:pt x="0" y="158"/>
                  <a:pt x="0" y="187"/>
                </a:cubicBezTo>
                <a:cubicBezTo>
                  <a:pt x="0" y="216"/>
                  <a:pt x="24" y="240"/>
                  <a:pt x="54" y="240"/>
                </a:cubicBezTo>
                <a:cubicBezTo>
                  <a:pt x="560" y="240"/>
                  <a:pt x="560" y="240"/>
                  <a:pt x="560" y="240"/>
                </a:cubicBezTo>
                <a:cubicBezTo>
                  <a:pt x="560" y="374"/>
                  <a:pt x="560" y="374"/>
                  <a:pt x="560" y="374"/>
                </a:cubicBezTo>
                <a:cubicBezTo>
                  <a:pt x="747" y="187"/>
                  <a:pt x="747" y="187"/>
                  <a:pt x="747" y="187"/>
                </a:cubicBezTo>
                <a:cubicBezTo>
                  <a:pt x="560" y="0"/>
                  <a:pt x="560" y="0"/>
                  <a:pt x="560" y="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0001" tIns="40000" rIns="80001" bIns="40000" numCol="1" anchor="t" anchorCtr="0" compatLnSpc="1">
            <a:prstTxWarp prst="textNoShape">
              <a:avLst/>
            </a:prstTxWarp>
          </a:bodyPr>
          <a:lstStyle/>
          <a:p>
            <a:endParaRPr lang="de-DE" sz="2012" dirty="0"/>
          </a:p>
        </p:txBody>
      </p:sp>
      <p:pic>
        <p:nvPicPr>
          <p:cNvPr id="13" name="Grafik 12" descr="1339237423-408690-0112867_www.nevseoboi.com.ua"/>
          <p:cNvPicPr>
            <a:picLocks noGrp="1" noChangeAspect="1"/>
          </p:cNvPicPr>
          <p:nvPr isPhoto="1"/>
        </p:nvPicPr>
        <p:blipFill>
          <a:blip r:embed="rId9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062" y="1347493"/>
            <a:ext cx="9008065" cy="4850108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Rectangle 2"/>
          <p:cNvSpPr/>
          <p:nvPr/>
        </p:nvSpPr>
        <p:spPr>
          <a:xfrm>
            <a:off x="359999" y="778003"/>
            <a:ext cx="5345475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Факторы, формировавшие команду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7" name="Rectangle 2"/>
          <p:cNvSpPr/>
          <p:nvPr/>
        </p:nvSpPr>
        <p:spPr>
          <a:xfrm>
            <a:off x="6187716" y="3153362"/>
            <a:ext cx="3219450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Резкий рост проекта</a:t>
            </a:r>
          </a:p>
          <a:p>
            <a:r>
              <a:rPr lang="en-US" b="1" dirty="0" smtClean="0">
                <a:solidFill>
                  <a:schemeClr val="bg1"/>
                </a:solidFill>
              </a:rPr>
              <a:t>    </a:t>
            </a:r>
            <a:r>
              <a:rPr lang="ru-RU" b="1" dirty="0" smtClean="0">
                <a:solidFill>
                  <a:schemeClr val="bg1"/>
                </a:solidFill>
              </a:rPr>
              <a:t>2 </a:t>
            </a:r>
            <a:r>
              <a:rPr lang="en-US" b="1" dirty="0" smtClean="0">
                <a:solidFill>
                  <a:schemeClr val="bg1"/>
                </a:solidFill>
                <a:sym typeface="Wingdings" panose="05000000000000000000" pitchFamily="2" charset="2"/>
              </a:rPr>
              <a:t>------------&gt; </a:t>
            </a:r>
            <a:r>
              <a:rPr lang="ru-RU" b="1" dirty="0" smtClean="0">
                <a:solidFill>
                  <a:schemeClr val="bg1"/>
                </a:solidFill>
              </a:rPr>
              <a:t>40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1" name="Rectangle 2"/>
          <p:cNvSpPr/>
          <p:nvPr/>
        </p:nvSpPr>
        <p:spPr>
          <a:xfrm>
            <a:off x="5762554" y="1637697"/>
            <a:ext cx="3505200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err="1" smtClean="0">
                <a:solidFill>
                  <a:schemeClr val="bg1"/>
                </a:solidFill>
              </a:rPr>
              <a:t>Неналаженная</a:t>
            </a:r>
            <a:r>
              <a:rPr lang="ru-RU" b="1" dirty="0" smtClean="0">
                <a:solidFill>
                  <a:schemeClr val="bg1"/>
                </a:solidFill>
              </a:rPr>
              <a:t> совместная работа между командами 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3" name="Rectangle 2"/>
          <p:cNvSpPr/>
          <p:nvPr/>
        </p:nvSpPr>
        <p:spPr>
          <a:xfrm>
            <a:off x="1343026" y="5010989"/>
            <a:ext cx="3699068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Отсутствие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ru-RU" b="1" dirty="0" smtClean="0">
                <a:solidFill>
                  <a:schemeClr val="bg1"/>
                </a:solidFill>
              </a:rPr>
              <a:t>технического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ru-RU" b="1" dirty="0" smtClean="0">
                <a:solidFill>
                  <a:schemeClr val="bg1"/>
                </a:solidFill>
              </a:rPr>
              <a:t>образования у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ru-RU" b="1" dirty="0" err="1" smtClean="0">
                <a:solidFill>
                  <a:schemeClr val="bg1"/>
                </a:solidFill>
              </a:rPr>
              <a:t>тестировщиков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5" name="Rectangle 2"/>
          <p:cNvSpPr/>
          <p:nvPr/>
        </p:nvSpPr>
        <p:spPr>
          <a:xfrm>
            <a:off x="807816" y="3593316"/>
            <a:ext cx="3331374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Несформировавшиеся рабочие процессы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6" name="Rectangle 2"/>
          <p:cNvSpPr/>
          <p:nvPr/>
        </p:nvSpPr>
        <p:spPr>
          <a:xfrm>
            <a:off x="670281" y="1506766"/>
            <a:ext cx="3468909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Отсутствие определенности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ru-RU" b="1" dirty="0" smtClean="0">
                <a:solidFill>
                  <a:schemeClr val="bg1"/>
                </a:solidFill>
              </a:rPr>
              <a:t>в выборе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ru-RU" b="1" dirty="0" smtClean="0">
                <a:solidFill>
                  <a:schemeClr val="bg1"/>
                </a:solidFill>
              </a:rPr>
              <a:t>методологий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ru-RU" b="1" dirty="0" smtClean="0">
                <a:solidFill>
                  <a:schemeClr val="bg1"/>
                </a:solidFill>
              </a:rPr>
              <a:t>разработки </a:t>
            </a:r>
            <a:r>
              <a:rPr lang="ru-RU" b="1" dirty="0">
                <a:solidFill>
                  <a:schemeClr val="bg1"/>
                </a:solidFill>
              </a:rPr>
              <a:t>ПО </a:t>
            </a:r>
            <a:r>
              <a:rPr lang="ru-RU" b="1" dirty="0" smtClean="0">
                <a:solidFill>
                  <a:schemeClr val="bg1"/>
                </a:solidFill>
              </a:rPr>
              <a:t> 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40" name="Rectangle 2"/>
          <p:cNvSpPr/>
          <p:nvPr/>
        </p:nvSpPr>
        <p:spPr>
          <a:xfrm>
            <a:off x="5042397" y="4629429"/>
            <a:ext cx="3619358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</a:rPr>
              <a:t>Отсутствие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ru-RU" b="1" dirty="0" err="1" smtClean="0">
                <a:solidFill>
                  <a:schemeClr val="bg1"/>
                </a:solidFill>
              </a:rPr>
              <a:t>внутрипроектной</a:t>
            </a:r>
            <a:r>
              <a:rPr lang="ru-RU" b="1" dirty="0" smtClean="0">
                <a:solidFill>
                  <a:schemeClr val="bg1"/>
                </a:solidFill>
              </a:rPr>
              <a:t> базы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ru-RU" b="1" dirty="0" smtClean="0">
                <a:solidFill>
                  <a:schemeClr val="bg1"/>
                </a:solidFill>
              </a:rPr>
              <a:t>знаний и доступных источников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ru-RU" b="1" dirty="0" smtClean="0">
                <a:solidFill>
                  <a:schemeClr val="bg1"/>
                </a:solidFill>
              </a:rPr>
              <a:t> информации</a:t>
            </a:r>
            <a:endParaRPr lang="ru-RU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77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1" grpId="0"/>
      <p:bldP spid="23" grpId="0"/>
      <p:bldP spid="25" grpId="0"/>
      <p:bldP spid="26" grpId="0"/>
      <p:bldP spid="4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90" y="947280"/>
          <a:ext cx="1388" cy="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900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947280"/>
                        <a:ext cx="1388" cy="1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180" name="Picture 5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90" y="947281"/>
            <a:ext cx="2778" cy="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4</a:t>
            </a:fld>
            <a:endParaRPr lang="de-DE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169" y="9523"/>
            <a:ext cx="10076456" cy="674914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8" tIns="45714" rIns="91428" bIns="45714" anchor="ctr"/>
          <a:lstStyle/>
          <a:p>
            <a:pPr algn="ctr" defTabSz="457142" fontAlgn="base"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FFFFFF"/>
              </a:solidFill>
              <a:cs typeface="Arial Unicode MS" pitchFamily="34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4000" b="1" dirty="0">
                <a:solidFill>
                  <a:schemeClr val="bg1"/>
                </a:solidFill>
                <a:sym typeface="Wingdings" panose="05000000000000000000" pitchFamily="2" charset="2"/>
              </a:rPr>
              <a:t>Хаос</a:t>
            </a:r>
            <a:r>
              <a:rPr lang="ru-RU" sz="4000" b="1" dirty="0" smtClean="0">
                <a:solidFill>
                  <a:schemeClr val="bg1"/>
                </a:solidFill>
              </a:rPr>
              <a:t> </a:t>
            </a:r>
            <a:r>
              <a:rPr lang="ru-RU" sz="4000" b="1" dirty="0" smtClean="0">
                <a:solidFill>
                  <a:schemeClr val="bg1"/>
                </a:solidFill>
                <a:sym typeface="Wingdings" panose="05000000000000000000" pitchFamily="2" charset="2"/>
              </a:rPr>
              <a:t></a:t>
            </a:r>
            <a:r>
              <a:rPr lang="en-US" sz="4000" b="1" dirty="0" smtClean="0">
                <a:solidFill>
                  <a:schemeClr val="bg1"/>
                </a:solidFill>
                <a:sym typeface="Wingdings" panose="05000000000000000000" pitchFamily="2" charset="2"/>
              </a:rPr>
              <a:t> </a:t>
            </a:r>
            <a:r>
              <a:rPr lang="ru-RU" sz="4000" b="1" dirty="0" smtClean="0">
                <a:solidFill>
                  <a:schemeClr val="bg1"/>
                </a:solidFill>
                <a:sym typeface="Wingdings" panose="05000000000000000000" pitchFamily="2" charset="2"/>
              </a:rPr>
              <a:t>Динамика</a:t>
            </a:r>
            <a:endParaRPr lang="ru-RU" sz="4000" b="1" dirty="0">
              <a:solidFill>
                <a:schemeClr val="bg1"/>
              </a:solidFill>
            </a:endParaRPr>
          </a:p>
        </p:txBody>
      </p:sp>
      <p:pic>
        <p:nvPicPr>
          <p:cNvPr id="702467" name="Picture 3" descr="C:\Users\kea1\Desktop\f3tiu4zw38165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1849" y="6980111"/>
            <a:ext cx="701041" cy="405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 71"/>
          <p:cNvSpPr>
            <a:spLocks/>
          </p:cNvSpPr>
          <p:nvPr/>
        </p:nvSpPr>
        <p:spPr bwMode="auto">
          <a:xfrm>
            <a:off x="4057388" y="2265750"/>
            <a:ext cx="1175656" cy="311113"/>
          </a:xfrm>
          <a:custGeom>
            <a:avLst/>
            <a:gdLst>
              <a:gd name="T0" fmla="*/ 560 w 747"/>
              <a:gd name="T1" fmla="*/ 0 h 374"/>
              <a:gd name="T2" fmla="*/ 560 w 747"/>
              <a:gd name="T3" fmla="*/ 134 h 374"/>
              <a:gd name="T4" fmla="*/ 54 w 747"/>
              <a:gd name="T5" fmla="*/ 134 h 374"/>
              <a:gd name="T6" fmla="*/ 0 w 747"/>
              <a:gd name="T7" fmla="*/ 187 h 374"/>
              <a:gd name="T8" fmla="*/ 54 w 747"/>
              <a:gd name="T9" fmla="*/ 240 h 374"/>
              <a:gd name="T10" fmla="*/ 560 w 747"/>
              <a:gd name="T11" fmla="*/ 240 h 374"/>
              <a:gd name="T12" fmla="*/ 560 w 747"/>
              <a:gd name="T13" fmla="*/ 374 h 374"/>
              <a:gd name="T14" fmla="*/ 747 w 747"/>
              <a:gd name="T15" fmla="*/ 187 h 374"/>
              <a:gd name="T16" fmla="*/ 560 w 747"/>
              <a:gd name="T17" fmla="*/ 0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47" h="374">
                <a:moveTo>
                  <a:pt x="560" y="0"/>
                </a:moveTo>
                <a:cubicBezTo>
                  <a:pt x="560" y="134"/>
                  <a:pt x="560" y="134"/>
                  <a:pt x="560" y="134"/>
                </a:cubicBezTo>
                <a:cubicBezTo>
                  <a:pt x="54" y="134"/>
                  <a:pt x="54" y="134"/>
                  <a:pt x="54" y="134"/>
                </a:cubicBezTo>
                <a:cubicBezTo>
                  <a:pt x="24" y="134"/>
                  <a:pt x="0" y="158"/>
                  <a:pt x="0" y="187"/>
                </a:cubicBezTo>
                <a:cubicBezTo>
                  <a:pt x="0" y="216"/>
                  <a:pt x="24" y="240"/>
                  <a:pt x="54" y="240"/>
                </a:cubicBezTo>
                <a:cubicBezTo>
                  <a:pt x="560" y="240"/>
                  <a:pt x="560" y="240"/>
                  <a:pt x="560" y="240"/>
                </a:cubicBezTo>
                <a:cubicBezTo>
                  <a:pt x="560" y="374"/>
                  <a:pt x="560" y="374"/>
                  <a:pt x="560" y="374"/>
                </a:cubicBezTo>
                <a:cubicBezTo>
                  <a:pt x="747" y="187"/>
                  <a:pt x="747" y="187"/>
                  <a:pt x="747" y="187"/>
                </a:cubicBezTo>
                <a:cubicBezTo>
                  <a:pt x="560" y="0"/>
                  <a:pt x="560" y="0"/>
                  <a:pt x="560" y="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0001" tIns="40000" rIns="80001" bIns="40000" numCol="1" anchor="t" anchorCtr="0" compatLnSpc="1">
            <a:prstTxWarp prst="textNoShape">
              <a:avLst/>
            </a:prstTxWarp>
          </a:bodyPr>
          <a:lstStyle/>
          <a:p>
            <a:endParaRPr lang="de-DE" sz="2012" dirty="0"/>
          </a:p>
        </p:txBody>
      </p:sp>
      <p:sp>
        <p:nvSpPr>
          <p:cNvPr id="15" name="Rectangle 2"/>
          <p:cNvSpPr/>
          <p:nvPr/>
        </p:nvSpPr>
        <p:spPr>
          <a:xfrm>
            <a:off x="284662" y="794066"/>
            <a:ext cx="9122504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Надежные, простые и универсальные техники изменений в команде тестирования</a:t>
            </a:r>
          </a:p>
        </p:txBody>
      </p:sp>
      <p:sp>
        <p:nvSpPr>
          <p:cNvPr id="28" name="Rectangle 2"/>
          <p:cNvSpPr/>
          <p:nvPr/>
        </p:nvSpPr>
        <p:spPr>
          <a:xfrm rot="20720243">
            <a:off x="740381" y="4394747"/>
            <a:ext cx="2533562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TECHNICAL  TOOLS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9" name="Rectangle 2"/>
          <p:cNvSpPr/>
          <p:nvPr/>
        </p:nvSpPr>
        <p:spPr>
          <a:xfrm rot="661373">
            <a:off x="5900130" y="4415780"/>
            <a:ext cx="4213214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OPERATIONAL MANAGEMENT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30" name="Rectangle 2"/>
          <p:cNvSpPr/>
          <p:nvPr/>
        </p:nvSpPr>
        <p:spPr>
          <a:xfrm rot="21084933">
            <a:off x="3537338" y="5755924"/>
            <a:ext cx="3251264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PEOPLE MANAGEMENT</a:t>
            </a:r>
            <a:endParaRPr lang="ru-RU" b="1" dirty="0">
              <a:solidFill>
                <a:schemeClr val="bg1"/>
              </a:solidFill>
            </a:endParaRPr>
          </a:p>
        </p:txBody>
      </p:sp>
      <p:pic>
        <p:nvPicPr>
          <p:cNvPr id="760845" name="Picture 1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725957">
            <a:off x="434512" y="1639015"/>
            <a:ext cx="3867150" cy="2581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0846" name="Picture 1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079084">
            <a:off x="3357416" y="2125267"/>
            <a:ext cx="2413410" cy="36635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0848" name="Picture 1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90920">
            <a:off x="5821363" y="1730382"/>
            <a:ext cx="3905250" cy="2543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06647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0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608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08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608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08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608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29" grpId="0"/>
      <p:bldP spid="3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90" y="947280"/>
          <a:ext cx="1388" cy="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437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947280"/>
                        <a:ext cx="1388" cy="1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180" name="Picture 5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90" y="947281"/>
            <a:ext cx="2778" cy="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5</a:t>
            </a:fld>
            <a:endParaRPr lang="de-DE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169" y="0"/>
            <a:ext cx="10076456" cy="674914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8" tIns="45714" rIns="91428" bIns="45714" anchor="ctr"/>
          <a:lstStyle/>
          <a:p>
            <a:pPr algn="ctr" defTabSz="457142" fontAlgn="base"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FFFFFF"/>
              </a:solidFill>
              <a:cs typeface="Arial Unicode MS" pitchFamily="34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b="1" dirty="0">
                <a:solidFill>
                  <a:schemeClr val="bg1"/>
                </a:solidFill>
              </a:rPr>
              <a:t>Technical Tools</a:t>
            </a:r>
            <a:endParaRPr lang="ru-RU" sz="4000" b="1" dirty="0">
              <a:solidFill>
                <a:schemeClr val="bg1"/>
              </a:solidFill>
            </a:endParaRPr>
          </a:p>
        </p:txBody>
      </p:sp>
      <p:pic>
        <p:nvPicPr>
          <p:cNvPr id="702467" name="Picture 3" descr="C:\Users\kea1\Desktop\f3tiu4zw38165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1849" y="6980111"/>
            <a:ext cx="701041" cy="405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2470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063" y="1574925"/>
            <a:ext cx="2890838" cy="1743075"/>
          </a:xfrm>
          <a:prstGeom prst="rect">
            <a:avLst/>
          </a:prstGeom>
          <a:noFill/>
          <a:ln w="9525">
            <a:solidFill>
              <a:schemeClr val="accent3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02474" name="Picture 1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6526" y="1574924"/>
            <a:ext cx="3639230" cy="1692767"/>
          </a:xfrm>
          <a:prstGeom prst="rect">
            <a:avLst/>
          </a:prstGeom>
          <a:noFill/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9" name="Freeform 71"/>
          <p:cNvSpPr>
            <a:spLocks/>
          </p:cNvSpPr>
          <p:nvPr/>
        </p:nvSpPr>
        <p:spPr bwMode="auto">
          <a:xfrm>
            <a:off x="4057388" y="2265750"/>
            <a:ext cx="1175656" cy="311113"/>
          </a:xfrm>
          <a:custGeom>
            <a:avLst/>
            <a:gdLst>
              <a:gd name="T0" fmla="*/ 560 w 747"/>
              <a:gd name="T1" fmla="*/ 0 h 374"/>
              <a:gd name="T2" fmla="*/ 560 w 747"/>
              <a:gd name="T3" fmla="*/ 134 h 374"/>
              <a:gd name="T4" fmla="*/ 54 w 747"/>
              <a:gd name="T5" fmla="*/ 134 h 374"/>
              <a:gd name="T6" fmla="*/ 0 w 747"/>
              <a:gd name="T7" fmla="*/ 187 h 374"/>
              <a:gd name="T8" fmla="*/ 54 w 747"/>
              <a:gd name="T9" fmla="*/ 240 h 374"/>
              <a:gd name="T10" fmla="*/ 560 w 747"/>
              <a:gd name="T11" fmla="*/ 240 h 374"/>
              <a:gd name="T12" fmla="*/ 560 w 747"/>
              <a:gd name="T13" fmla="*/ 374 h 374"/>
              <a:gd name="T14" fmla="*/ 747 w 747"/>
              <a:gd name="T15" fmla="*/ 187 h 374"/>
              <a:gd name="T16" fmla="*/ 560 w 747"/>
              <a:gd name="T17" fmla="*/ 0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47" h="374">
                <a:moveTo>
                  <a:pt x="560" y="0"/>
                </a:moveTo>
                <a:cubicBezTo>
                  <a:pt x="560" y="134"/>
                  <a:pt x="560" y="134"/>
                  <a:pt x="560" y="134"/>
                </a:cubicBezTo>
                <a:cubicBezTo>
                  <a:pt x="54" y="134"/>
                  <a:pt x="54" y="134"/>
                  <a:pt x="54" y="134"/>
                </a:cubicBezTo>
                <a:cubicBezTo>
                  <a:pt x="24" y="134"/>
                  <a:pt x="0" y="158"/>
                  <a:pt x="0" y="187"/>
                </a:cubicBezTo>
                <a:cubicBezTo>
                  <a:pt x="0" y="216"/>
                  <a:pt x="24" y="240"/>
                  <a:pt x="54" y="240"/>
                </a:cubicBezTo>
                <a:cubicBezTo>
                  <a:pt x="560" y="240"/>
                  <a:pt x="560" y="240"/>
                  <a:pt x="560" y="240"/>
                </a:cubicBezTo>
                <a:cubicBezTo>
                  <a:pt x="560" y="374"/>
                  <a:pt x="560" y="374"/>
                  <a:pt x="560" y="374"/>
                </a:cubicBezTo>
                <a:cubicBezTo>
                  <a:pt x="747" y="187"/>
                  <a:pt x="747" y="187"/>
                  <a:pt x="747" y="187"/>
                </a:cubicBezTo>
                <a:cubicBezTo>
                  <a:pt x="560" y="0"/>
                  <a:pt x="560" y="0"/>
                  <a:pt x="560" y="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0001" tIns="40000" rIns="80001" bIns="40000" numCol="1" anchor="t" anchorCtr="0" compatLnSpc="1">
            <a:prstTxWarp prst="textNoShape">
              <a:avLst/>
            </a:prstTxWarp>
          </a:bodyPr>
          <a:lstStyle/>
          <a:p>
            <a:endParaRPr lang="de-DE" sz="2012" dirty="0"/>
          </a:p>
        </p:txBody>
      </p:sp>
      <p:pic>
        <p:nvPicPr>
          <p:cNvPr id="757775" name="Picture 1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1199" y="4132263"/>
            <a:ext cx="3305967" cy="944562"/>
          </a:xfrm>
          <a:prstGeom prst="rect">
            <a:avLst/>
          </a:prstGeom>
          <a:noFill/>
          <a:ln w="9525">
            <a:solidFill>
              <a:schemeClr val="accent3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3" name="Inhaltsplatzhalter 6"/>
          <p:cNvSpPr txBox="1">
            <a:spLocks/>
          </p:cNvSpPr>
          <p:nvPr/>
        </p:nvSpPr>
        <p:spPr bwMode="gray">
          <a:xfrm>
            <a:off x="360000" y="831960"/>
            <a:ext cx="9360000" cy="567044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ClrTx/>
              <a:buFont typeface="+mj-lt"/>
              <a:buAutoNum type="arabicPeriod"/>
            </a:pPr>
            <a:r>
              <a:rPr lang="de-DE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TDS</a:t>
            </a:r>
            <a:r>
              <a:rPr lang="ru-RU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(локальный тестовый </a:t>
            </a:r>
            <a:r>
              <a:rPr lang="ru-RU" sz="2300" dirty="0" err="1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тул</a:t>
            </a:r>
            <a:r>
              <a:rPr lang="ru-RU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)</a:t>
            </a:r>
            <a:r>
              <a:rPr lang="de-DE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</a:t>
            </a:r>
            <a:r>
              <a:rPr lang="de-DE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  <a:sym typeface="Wingdings" panose="05000000000000000000" pitchFamily="2" charset="2"/>
              </a:rPr>
              <a:t> </a:t>
            </a:r>
            <a:r>
              <a:rPr lang="ru-RU" sz="2300" dirty="0" err="1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Jira</a:t>
            </a:r>
            <a:r>
              <a:rPr lang="ru-RU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</a:t>
            </a:r>
            <a:r>
              <a:rPr lang="en-US" sz="2300" dirty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  <a:sym typeface="Wingdings" panose="05000000000000000000" pitchFamily="2" charset="2"/>
              </a:rPr>
              <a:t></a:t>
            </a:r>
            <a:r>
              <a:rPr lang="ru-RU" sz="2300" dirty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</a:t>
            </a:r>
            <a:r>
              <a:rPr lang="de-DE" sz="2300" dirty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  <a:sym typeface="Wingdings" panose="05000000000000000000" pitchFamily="2" charset="2"/>
              </a:rPr>
              <a:t>Zephyr</a:t>
            </a:r>
            <a:r>
              <a:rPr lang="ru-RU" sz="2300" dirty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/ X-</a:t>
            </a:r>
            <a:r>
              <a:rPr lang="ru-RU" sz="2300" dirty="0" err="1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Ray</a:t>
            </a:r>
            <a:r>
              <a:rPr lang="ru-RU" sz="2300" dirty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</a:t>
            </a:r>
          </a:p>
          <a:p>
            <a:pPr marL="457200" indent="-457200">
              <a:buFont typeface="+mj-lt"/>
              <a:buAutoNum type="arabicPeriod"/>
            </a:pPr>
            <a:endParaRPr lang="ru-RU" sz="2300" dirty="0">
              <a:solidFill>
                <a:schemeClr val="tx1">
                  <a:lumMod val="50000"/>
                </a:schemeClr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pPr marL="457200" indent="-457200">
              <a:buClrTx/>
              <a:buFont typeface="+mj-lt"/>
              <a:buAutoNum type="arabicPeriod"/>
            </a:pPr>
            <a:endParaRPr lang="ru-RU" sz="2300" dirty="0">
              <a:solidFill>
                <a:schemeClr val="tx1">
                  <a:lumMod val="50000"/>
                </a:schemeClr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pPr marL="457200" indent="-457200">
              <a:buFont typeface="+mj-lt"/>
              <a:buAutoNum type="arabicPeriod"/>
            </a:pPr>
            <a:endParaRPr lang="ru-RU" sz="2300" dirty="0">
              <a:solidFill>
                <a:schemeClr val="tx1">
                  <a:lumMod val="50000"/>
                </a:schemeClr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pPr marL="457200" indent="-457200">
              <a:buFont typeface="+mj-lt"/>
              <a:buAutoNum type="arabicPeriod"/>
            </a:pPr>
            <a:endParaRPr lang="ru-RU" sz="2300" dirty="0" smtClean="0">
              <a:solidFill>
                <a:schemeClr val="tx1">
                  <a:lumMod val="50000"/>
                </a:schemeClr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pPr marL="457200" indent="-457200">
              <a:buClrTx/>
              <a:buFont typeface="+mj-lt"/>
              <a:buAutoNum type="arabicPeriod"/>
            </a:pPr>
            <a:r>
              <a:rPr lang="ru-RU" sz="2300" dirty="0" err="1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Testdesign</a:t>
            </a:r>
            <a:r>
              <a:rPr lang="ru-RU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(</a:t>
            </a:r>
            <a:r>
              <a:rPr lang="de-DE" sz="2300" dirty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Excel </a:t>
            </a:r>
            <a:r>
              <a:rPr lang="de-DE" sz="2300" dirty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  <a:sym typeface="Wingdings" panose="05000000000000000000" pitchFamily="2" charset="2"/>
              </a:rPr>
              <a:t> Zephyr</a:t>
            </a:r>
            <a:r>
              <a:rPr lang="de-DE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  <a:sym typeface="Wingdings" panose="05000000000000000000" pitchFamily="2" charset="2"/>
              </a:rPr>
              <a:t>)</a:t>
            </a:r>
            <a:endParaRPr lang="ru-RU" sz="2300" dirty="0">
              <a:solidFill>
                <a:schemeClr val="tx1">
                  <a:lumMod val="50000"/>
                </a:schemeClr>
              </a:solidFill>
              <a:latin typeface="Tele-GroteskNor" pitchFamily="2" charset="0"/>
              <a:ea typeface="Tele-GroteskNor" pitchFamily="2" charset="0"/>
              <a:cs typeface="Tele-GroteskNor" pitchFamily="2" charset="0"/>
              <a:sym typeface="Wingdings" panose="05000000000000000000" pitchFamily="2" charset="2"/>
            </a:endParaRPr>
          </a:p>
          <a:p>
            <a:pPr marL="457200" indent="-457200">
              <a:buClrTx/>
              <a:buFont typeface="+mj-lt"/>
              <a:buAutoNum type="arabicPeriod"/>
            </a:pPr>
            <a:r>
              <a:rPr lang="ru-RU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Создание более эффективных </a:t>
            </a:r>
            <a:r>
              <a:rPr lang="ru-RU" sz="2300" dirty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симуляторов </a:t>
            </a:r>
            <a:endParaRPr lang="en-US" sz="2300" dirty="0">
              <a:solidFill>
                <a:schemeClr val="tx1">
                  <a:lumMod val="50000"/>
                </a:schemeClr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</p:txBody>
      </p:sp>
      <p:pic>
        <p:nvPicPr>
          <p:cNvPr id="15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62" y="1394212"/>
            <a:ext cx="2995509" cy="1806188"/>
          </a:xfrm>
          <a:prstGeom prst="rect">
            <a:avLst/>
          </a:prstGeom>
          <a:noFill/>
          <a:ln w="9525">
            <a:solidFill>
              <a:schemeClr val="accent3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6" name="Picture 1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4096" y="1394212"/>
            <a:ext cx="3883070" cy="1806188"/>
          </a:xfrm>
          <a:prstGeom prst="rect">
            <a:avLst/>
          </a:prstGeom>
          <a:noFill/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7" name="Freeform 71"/>
          <p:cNvSpPr>
            <a:spLocks/>
          </p:cNvSpPr>
          <p:nvPr/>
        </p:nvSpPr>
        <p:spPr bwMode="auto">
          <a:xfrm>
            <a:off x="4206804" y="1954637"/>
            <a:ext cx="1175656" cy="311113"/>
          </a:xfrm>
          <a:custGeom>
            <a:avLst/>
            <a:gdLst>
              <a:gd name="T0" fmla="*/ 560 w 747"/>
              <a:gd name="T1" fmla="*/ 0 h 374"/>
              <a:gd name="T2" fmla="*/ 560 w 747"/>
              <a:gd name="T3" fmla="*/ 134 h 374"/>
              <a:gd name="T4" fmla="*/ 54 w 747"/>
              <a:gd name="T5" fmla="*/ 134 h 374"/>
              <a:gd name="T6" fmla="*/ 0 w 747"/>
              <a:gd name="T7" fmla="*/ 187 h 374"/>
              <a:gd name="T8" fmla="*/ 54 w 747"/>
              <a:gd name="T9" fmla="*/ 240 h 374"/>
              <a:gd name="T10" fmla="*/ 560 w 747"/>
              <a:gd name="T11" fmla="*/ 240 h 374"/>
              <a:gd name="T12" fmla="*/ 560 w 747"/>
              <a:gd name="T13" fmla="*/ 374 h 374"/>
              <a:gd name="T14" fmla="*/ 747 w 747"/>
              <a:gd name="T15" fmla="*/ 187 h 374"/>
              <a:gd name="T16" fmla="*/ 560 w 747"/>
              <a:gd name="T17" fmla="*/ 0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47" h="374">
                <a:moveTo>
                  <a:pt x="560" y="0"/>
                </a:moveTo>
                <a:cubicBezTo>
                  <a:pt x="560" y="134"/>
                  <a:pt x="560" y="134"/>
                  <a:pt x="560" y="134"/>
                </a:cubicBezTo>
                <a:cubicBezTo>
                  <a:pt x="54" y="134"/>
                  <a:pt x="54" y="134"/>
                  <a:pt x="54" y="134"/>
                </a:cubicBezTo>
                <a:cubicBezTo>
                  <a:pt x="24" y="134"/>
                  <a:pt x="0" y="158"/>
                  <a:pt x="0" y="187"/>
                </a:cubicBezTo>
                <a:cubicBezTo>
                  <a:pt x="0" y="216"/>
                  <a:pt x="24" y="240"/>
                  <a:pt x="54" y="240"/>
                </a:cubicBezTo>
                <a:cubicBezTo>
                  <a:pt x="560" y="240"/>
                  <a:pt x="560" y="240"/>
                  <a:pt x="560" y="240"/>
                </a:cubicBezTo>
                <a:cubicBezTo>
                  <a:pt x="560" y="374"/>
                  <a:pt x="560" y="374"/>
                  <a:pt x="560" y="374"/>
                </a:cubicBezTo>
                <a:cubicBezTo>
                  <a:pt x="747" y="187"/>
                  <a:pt x="747" y="187"/>
                  <a:pt x="747" y="187"/>
                </a:cubicBezTo>
                <a:cubicBezTo>
                  <a:pt x="560" y="0"/>
                  <a:pt x="560" y="0"/>
                  <a:pt x="560" y="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0001" tIns="40000" rIns="80001" bIns="40000" numCol="1" anchor="t" anchorCtr="0" compatLnSpc="1">
            <a:prstTxWarp prst="textNoShape">
              <a:avLst/>
            </a:prstTxWarp>
          </a:bodyPr>
          <a:lstStyle/>
          <a:p>
            <a:endParaRPr lang="de-DE" sz="2012" dirty="0"/>
          </a:p>
        </p:txBody>
      </p:sp>
      <p:pic>
        <p:nvPicPr>
          <p:cNvPr id="779274" name="Picture 1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2024" y="4504707"/>
            <a:ext cx="4635141" cy="1513681"/>
          </a:xfrm>
          <a:prstGeom prst="rect">
            <a:avLst/>
          </a:prstGeom>
          <a:noFill/>
          <a:ln w="9525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74462" y="4504707"/>
            <a:ext cx="2762590" cy="1645798"/>
          </a:xfrm>
          <a:prstGeom prst="rect">
            <a:avLst/>
          </a:prstGeom>
          <a:ln>
            <a:solidFill>
              <a:schemeClr val="accent2">
                <a:lumMod val="50000"/>
              </a:schemeClr>
            </a:solidFill>
          </a:ln>
        </p:spPr>
      </p:pic>
      <p:sp>
        <p:nvSpPr>
          <p:cNvPr id="18" name="Freeform 71"/>
          <p:cNvSpPr>
            <a:spLocks/>
          </p:cNvSpPr>
          <p:nvPr/>
        </p:nvSpPr>
        <p:spPr bwMode="auto">
          <a:xfrm>
            <a:off x="3969970" y="5172049"/>
            <a:ext cx="659179" cy="311113"/>
          </a:xfrm>
          <a:custGeom>
            <a:avLst/>
            <a:gdLst>
              <a:gd name="T0" fmla="*/ 560 w 747"/>
              <a:gd name="T1" fmla="*/ 0 h 374"/>
              <a:gd name="T2" fmla="*/ 560 w 747"/>
              <a:gd name="T3" fmla="*/ 134 h 374"/>
              <a:gd name="T4" fmla="*/ 54 w 747"/>
              <a:gd name="T5" fmla="*/ 134 h 374"/>
              <a:gd name="T6" fmla="*/ 0 w 747"/>
              <a:gd name="T7" fmla="*/ 187 h 374"/>
              <a:gd name="T8" fmla="*/ 54 w 747"/>
              <a:gd name="T9" fmla="*/ 240 h 374"/>
              <a:gd name="T10" fmla="*/ 560 w 747"/>
              <a:gd name="T11" fmla="*/ 240 h 374"/>
              <a:gd name="T12" fmla="*/ 560 w 747"/>
              <a:gd name="T13" fmla="*/ 374 h 374"/>
              <a:gd name="T14" fmla="*/ 747 w 747"/>
              <a:gd name="T15" fmla="*/ 187 h 374"/>
              <a:gd name="T16" fmla="*/ 560 w 747"/>
              <a:gd name="T17" fmla="*/ 0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47" h="374">
                <a:moveTo>
                  <a:pt x="560" y="0"/>
                </a:moveTo>
                <a:cubicBezTo>
                  <a:pt x="560" y="134"/>
                  <a:pt x="560" y="134"/>
                  <a:pt x="560" y="134"/>
                </a:cubicBezTo>
                <a:cubicBezTo>
                  <a:pt x="54" y="134"/>
                  <a:pt x="54" y="134"/>
                  <a:pt x="54" y="134"/>
                </a:cubicBezTo>
                <a:cubicBezTo>
                  <a:pt x="24" y="134"/>
                  <a:pt x="0" y="158"/>
                  <a:pt x="0" y="187"/>
                </a:cubicBezTo>
                <a:cubicBezTo>
                  <a:pt x="0" y="216"/>
                  <a:pt x="24" y="240"/>
                  <a:pt x="54" y="240"/>
                </a:cubicBezTo>
                <a:cubicBezTo>
                  <a:pt x="560" y="240"/>
                  <a:pt x="560" y="240"/>
                  <a:pt x="560" y="240"/>
                </a:cubicBezTo>
                <a:cubicBezTo>
                  <a:pt x="560" y="374"/>
                  <a:pt x="560" y="374"/>
                  <a:pt x="560" y="374"/>
                </a:cubicBezTo>
                <a:cubicBezTo>
                  <a:pt x="747" y="187"/>
                  <a:pt x="747" y="187"/>
                  <a:pt x="747" y="187"/>
                </a:cubicBezTo>
                <a:cubicBezTo>
                  <a:pt x="560" y="0"/>
                  <a:pt x="560" y="0"/>
                  <a:pt x="560" y="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0001" tIns="40000" rIns="80001" bIns="40000" numCol="1" anchor="t" anchorCtr="0" compatLnSpc="1">
            <a:prstTxWarp prst="textNoShape">
              <a:avLst/>
            </a:prstTxWarp>
          </a:bodyPr>
          <a:lstStyle/>
          <a:p>
            <a:endParaRPr lang="de-DE" sz="2012" dirty="0"/>
          </a:p>
        </p:txBody>
      </p:sp>
    </p:spTree>
    <p:extLst>
      <p:ext uri="{BB962C8B-B14F-4D97-AF65-F5344CB8AC3E}">
        <p14:creationId xmlns:p14="http://schemas.microsoft.com/office/powerpoint/2010/main" val="2876011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90" y="947280"/>
          <a:ext cx="1388" cy="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32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947280"/>
                        <a:ext cx="1388" cy="1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180" name="Picture 5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90" y="947281"/>
            <a:ext cx="2778" cy="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6</a:t>
            </a:fld>
            <a:endParaRPr lang="de-DE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169" y="0"/>
            <a:ext cx="10076456" cy="674914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8" tIns="45714" rIns="91428" bIns="45714" anchor="ctr"/>
          <a:lstStyle/>
          <a:p>
            <a:pPr algn="ctr" defTabSz="457142" fontAlgn="base"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FFFFFF"/>
              </a:solidFill>
              <a:cs typeface="Arial Unicode MS" pitchFamily="34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b="1" dirty="0">
                <a:solidFill>
                  <a:schemeClr val="bg1"/>
                </a:solidFill>
              </a:rPr>
              <a:t>Technical Tools</a:t>
            </a:r>
            <a:endParaRPr lang="ru-RU" sz="4000" b="1" dirty="0">
              <a:solidFill>
                <a:schemeClr val="bg1"/>
              </a:solidFill>
            </a:endParaRPr>
          </a:p>
        </p:txBody>
      </p:sp>
      <p:pic>
        <p:nvPicPr>
          <p:cNvPr id="702467" name="Picture 3" descr="C:\Users\kea1\Desktop\f3tiu4zw38165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1849" y="6980111"/>
            <a:ext cx="701041" cy="405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3490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249" y="1368165"/>
            <a:ext cx="4313057" cy="2006406"/>
          </a:xfrm>
          <a:prstGeom prst="rect">
            <a:avLst/>
          </a:prstGeom>
          <a:noFill/>
          <a:ln w="9525">
            <a:solidFill>
              <a:schemeClr val="accent3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3" name="Freeform 71"/>
          <p:cNvSpPr>
            <a:spLocks/>
          </p:cNvSpPr>
          <p:nvPr/>
        </p:nvSpPr>
        <p:spPr bwMode="auto">
          <a:xfrm>
            <a:off x="3478439" y="5047133"/>
            <a:ext cx="1175656" cy="311113"/>
          </a:xfrm>
          <a:custGeom>
            <a:avLst/>
            <a:gdLst>
              <a:gd name="T0" fmla="*/ 560 w 747"/>
              <a:gd name="T1" fmla="*/ 0 h 374"/>
              <a:gd name="T2" fmla="*/ 560 w 747"/>
              <a:gd name="T3" fmla="*/ 134 h 374"/>
              <a:gd name="T4" fmla="*/ 54 w 747"/>
              <a:gd name="T5" fmla="*/ 134 h 374"/>
              <a:gd name="T6" fmla="*/ 0 w 747"/>
              <a:gd name="T7" fmla="*/ 187 h 374"/>
              <a:gd name="T8" fmla="*/ 54 w 747"/>
              <a:gd name="T9" fmla="*/ 240 h 374"/>
              <a:gd name="T10" fmla="*/ 560 w 747"/>
              <a:gd name="T11" fmla="*/ 240 h 374"/>
              <a:gd name="T12" fmla="*/ 560 w 747"/>
              <a:gd name="T13" fmla="*/ 374 h 374"/>
              <a:gd name="T14" fmla="*/ 747 w 747"/>
              <a:gd name="T15" fmla="*/ 187 h 374"/>
              <a:gd name="T16" fmla="*/ 560 w 747"/>
              <a:gd name="T17" fmla="*/ 0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47" h="374">
                <a:moveTo>
                  <a:pt x="560" y="0"/>
                </a:moveTo>
                <a:cubicBezTo>
                  <a:pt x="560" y="134"/>
                  <a:pt x="560" y="134"/>
                  <a:pt x="560" y="134"/>
                </a:cubicBezTo>
                <a:cubicBezTo>
                  <a:pt x="54" y="134"/>
                  <a:pt x="54" y="134"/>
                  <a:pt x="54" y="134"/>
                </a:cubicBezTo>
                <a:cubicBezTo>
                  <a:pt x="24" y="134"/>
                  <a:pt x="0" y="158"/>
                  <a:pt x="0" y="187"/>
                </a:cubicBezTo>
                <a:cubicBezTo>
                  <a:pt x="0" y="216"/>
                  <a:pt x="24" y="240"/>
                  <a:pt x="54" y="240"/>
                </a:cubicBezTo>
                <a:cubicBezTo>
                  <a:pt x="560" y="240"/>
                  <a:pt x="560" y="240"/>
                  <a:pt x="560" y="240"/>
                </a:cubicBezTo>
                <a:cubicBezTo>
                  <a:pt x="560" y="374"/>
                  <a:pt x="560" y="374"/>
                  <a:pt x="560" y="374"/>
                </a:cubicBezTo>
                <a:cubicBezTo>
                  <a:pt x="747" y="187"/>
                  <a:pt x="747" y="187"/>
                  <a:pt x="747" y="187"/>
                </a:cubicBezTo>
                <a:cubicBezTo>
                  <a:pt x="560" y="0"/>
                  <a:pt x="560" y="0"/>
                  <a:pt x="560" y="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0001" tIns="40000" rIns="80001" bIns="40000" numCol="1" anchor="t" anchorCtr="0" compatLnSpc="1">
            <a:prstTxWarp prst="textNoShape">
              <a:avLst/>
            </a:prstTxWarp>
          </a:bodyPr>
          <a:lstStyle/>
          <a:p>
            <a:endParaRPr lang="en-US" sz="1200" b="1" dirty="0" smtClean="0"/>
          </a:p>
          <a:p>
            <a:endParaRPr lang="en-US" sz="800" b="1" dirty="0" smtClean="0"/>
          </a:p>
          <a:p>
            <a:r>
              <a:rPr lang="en-US" sz="1200" b="1" dirty="0" smtClean="0">
                <a:solidFill>
                  <a:schemeClr val="tx1">
                    <a:lumMod val="50000"/>
                  </a:schemeClr>
                </a:solidFill>
              </a:rPr>
              <a:t>problem </a:t>
            </a:r>
            <a:r>
              <a:rPr lang="en-US" sz="1200" b="1" dirty="0">
                <a:solidFill>
                  <a:schemeClr val="tx1">
                    <a:lumMod val="50000"/>
                  </a:schemeClr>
                </a:solidFill>
              </a:rPr>
              <a:t>request</a:t>
            </a:r>
            <a:endParaRPr lang="de-DE" sz="12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5" name="Inhaltsplatzhalter 6"/>
          <p:cNvSpPr txBox="1">
            <a:spLocks/>
          </p:cNvSpPr>
          <p:nvPr/>
        </p:nvSpPr>
        <p:spPr bwMode="gray">
          <a:xfrm>
            <a:off x="360000" y="831960"/>
            <a:ext cx="9360000" cy="567044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ClrTx/>
              <a:buFont typeface="+mj-lt"/>
              <a:buAutoNum type="arabicPeriod" startAt="4"/>
            </a:pPr>
            <a:r>
              <a:rPr lang="en-US" sz="2300" dirty="0" err="1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Autotester</a:t>
            </a:r>
            <a:r>
              <a:rPr lang="en-US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(</a:t>
            </a:r>
            <a:r>
              <a:rPr lang="ru-RU" sz="2300" dirty="0" err="1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фреймворк</a:t>
            </a:r>
            <a:r>
              <a:rPr lang="ru-RU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 для </a:t>
            </a:r>
            <a:r>
              <a:rPr lang="en-US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WMS-TK)</a:t>
            </a:r>
            <a:endParaRPr lang="ru-RU" sz="2300" dirty="0" smtClean="0">
              <a:solidFill>
                <a:schemeClr val="tx1">
                  <a:lumMod val="50000"/>
                </a:schemeClr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pPr marL="457200" indent="-457200">
              <a:buClrTx/>
              <a:buFont typeface="+mj-lt"/>
              <a:buAutoNum type="arabicPeriod" startAt="4"/>
            </a:pPr>
            <a:endParaRPr lang="ru-RU" sz="2300" dirty="0" smtClean="0">
              <a:solidFill>
                <a:schemeClr val="tx1">
                  <a:lumMod val="50000"/>
                </a:schemeClr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pPr marL="457200" indent="-457200">
              <a:buFont typeface="+mj-lt"/>
              <a:buAutoNum type="arabicPeriod" startAt="4"/>
            </a:pPr>
            <a:endParaRPr lang="ru-RU" sz="2300" dirty="0" smtClean="0">
              <a:solidFill>
                <a:schemeClr val="tx1">
                  <a:lumMod val="50000"/>
                </a:schemeClr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pPr marL="457200" indent="-457200">
              <a:buFont typeface="+mj-lt"/>
              <a:buAutoNum type="arabicPeriod" startAt="4"/>
            </a:pPr>
            <a:endParaRPr lang="ru-RU" sz="2300" dirty="0" smtClean="0">
              <a:solidFill>
                <a:schemeClr val="tx1">
                  <a:lumMod val="50000"/>
                </a:schemeClr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pPr marL="457200" indent="-457200">
              <a:buClrTx/>
              <a:buFont typeface="+mj-lt"/>
              <a:buAutoNum type="arabicPeriod" startAt="4"/>
            </a:pPr>
            <a:endParaRPr lang="de-DE" sz="2300" dirty="0" smtClean="0">
              <a:solidFill>
                <a:schemeClr val="tx1">
                  <a:lumMod val="50000"/>
                </a:schemeClr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pPr marL="457200" indent="-457200">
              <a:buClrTx/>
              <a:buFont typeface="+mj-lt"/>
              <a:buAutoNum type="arabicPeriod" startAt="4"/>
            </a:pPr>
            <a:r>
              <a:rPr lang="ru-RU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Адаптация проектных тулов под новые стандарты</a:t>
            </a:r>
            <a:r>
              <a:rPr lang="de-DE" sz="2300" dirty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/>
            </a:r>
            <a:br>
              <a:rPr lang="de-DE" sz="2300" dirty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</a:br>
            <a:r>
              <a:rPr lang="ru-RU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(PR-</a:t>
            </a:r>
            <a:r>
              <a:rPr lang="ru-RU" sz="2300" dirty="0" err="1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Tool</a:t>
            </a:r>
            <a:r>
              <a:rPr lang="ru-RU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, приложение для миграции </a:t>
            </a:r>
            <a:r>
              <a:rPr lang="ru-RU" sz="2300" dirty="0" err="1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problem</a:t>
            </a:r>
            <a:r>
              <a:rPr lang="ru-RU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</a:t>
            </a:r>
            <a:r>
              <a:rPr lang="ru-RU" sz="2300" dirty="0" err="1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request</a:t>
            </a:r>
            <a:r>
              <a:rPr lang="ru-RU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из PR-</a:t>
            </a:r>
            <a:r>
              <a:rPr lang="ru-RU" sz="2300" dirty="0" err="1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Tool</a:t>
            </a:r>
            <a:r>
              <a:rPr lang="ru-RU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в </a:t>
            </a:r>
            <a:r>
              <a:rPr lang="ru-RU" sz="2300" dirty="0" err="1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Jira</a:t>
            </a:r>
            <a:r>
              <a:rPr lang="ru-RU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)</a:t>
            </a:r>
          </a:p>
          <a:p>
            <a:pPr>
              <a:buClrTx/>
            </a:pPr>
            <a:endParaRPr lang="ru-RU" sz="2300" dirty="0">
              <a:solidFill>
                <a:schemeClr val="tx1">
                  <a:lumMod val="50000"/>
                </a:schemeClr>
              </a:solidFill>
              <a:latin typeface="Tele-GroteskNor" pitchFamily="2" charset="0"/>
              <a:ea typeface="Tele-GroteskNor" pitchFamily="2" charset="0"/>
              <a:cs typeface="Tele-GroteskNor" pitchFamily="2" charset="0"/>
              <a:sym typeface="Wingdings" panose="05000000000000000000" pitchFamily="2" charset="2"/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3306" y="4244609"/>
            <a:ext cx="2634280" cy="190273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6511" y="4251324"/>
            <a:ext cx="1520655" cy="190273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649" y="1368165"/>
            <a:ext cx="4313057" cy="2006406"/>
          </a:xfrm>
          <a:prstGeom prst="rect">
            <a:avLst/>
          </a:prstGeom>
          <a:noFill/>
          <a:ln w="9525">
            <a:solidFill>
              <a:schemeClr val="accent3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9" name="Picture 7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649" y="4326007"/>
            <a:ext cx="2641602" cy="1753364"/>
          </a:xfrm>
          <a:prstGeom prst="rect">
            <a:avLst/>
          </a:prstGeom>
          <a:noFill/>
          <a:ln w="9525">
            <a:solidFill>
              <a:schemeClr val="accent3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Freeform 71"/>
          <p:cNvSpPr>
            <a:spLocks/>
          </p:cNvSpPr>
          <p:nvPr/>
        </p:nvSpPr>
        <p:spPr bwMode="auto">
          <a:xfrm>
            <a:off x="3757839" y="4905950"/>
            <a:ext cx="1175656" cy="311113"/>
          </a:xfrm>
          <a:custGeom>
            <a:avLst/>
            <a:gdLst>
              <a:gd name="T0" fmla="*/ 560 w 747"/>
              <a:gd name="T1" fmla="*/ 0 h 374"/>
              <a:gd name="T2" fmla="*/ 560 w 747"/>
              <a:gd name="T3" fmla="*/ 134 h 374"/>
              <a:gd name="T4" fmla="*/ 54 w 747"/>
              <a:gd name="T5" fmla="*/ 134 h 374"/>
              <a:gd name="T6" fmla="*/ 0 w 747"/>
              <a:gd name="T7" fmla="*/ 187 h 374"/>
              <a:gd name="T8" fmla="*/ 54 w 747"/>
              <a:gd name="T9" fmla="*/ 240 h 374"/>
              <a:gd name="T10" fmla="*/ 560 w 747"/>
              <a:gd name="T11" fmla="*/ 240 h 374"/>
              <a:gd name="T12" fmla="*/ 560 w 747"/>
              <a:gd name="T13" fmla="*/ 374 h 374"/>
              <a:gd name="T14" fmla="*/ 747 w 747"/>
              <a:gd name="T15" fmla="*/ 187 h 374"/>
              <a:gd name="T16" fmla="*/ 560 w 747"/>
              <a:gd name="T17" fmla="*/ 0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47" h="374">
                <a:moveTo>
                  <a:pt x="560" y="0"/>
                </a:moveTo>
                <a:cubicBezTo>
                  <a:pt x="560" y="134"/>
                  <a:pt x="560" y="134"/>
                  <a:pt x="560" y="134"/>
                </a:cubicBezTo>
                <a:cubicBezTo>
                  <a:pt x="54" y="134"/>
                  <a:pt x="54" y="134"/>
                  <a:pt x="54" y="134"/>
                </a:cubicBezTo>
                <a:cubicBezTo>
                  <a:pt x="24" y="134"/>
                  <a:pt x="0" y="158"/>
                  <a:pt x="0" y="187"/>
                </a:cubicBezTo>
                <a:cubicBezTo>
                  <a:pt x="0" y="216"/>
                  <a:pt x="24" y="240"/>
                  <a:pt x="54" y="240"/>
                </a:cubicBezTo>
                <a:cubicBezTo>
                  <a:pt x="560" y="240"/>
                  <a:pt x="560" y="240"/>
                  <a:pt x="560" y="240"/>
                </a:cubicBezTo>
                <a:cubicBezTo>
                  <a:pt x="560" y="374"/>
                  <a:pt x="560" y="374"/>
                  <a:pt x="560" y="374"/>
                </a:cubicBezTo>
                <a:cubicBezTo>
                  <a:pt x="747" y="187"/>
                  <a:pt x="747" y="187"/>
                  <a:pt x="747" y="187"/>
                </a:cubicBezTo>
                <a:cubicBezTo>
                  <a:pt x="560" y="0"/>
                  <a:pt x="560" y="0"/>
                  <a:pt x="560" y="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0001" tIns="40000" rIns="80001" bIns="40000" numCol="1" anchor="t" anchorCtr="0" compatLnSpc="1">
            <a:prstTxWarp prst="textNoShape">
              <a:avLst/>
            </a:prstTxWarp>
          </a:bodyPr>
          <a:lstStyle/>
          <a:p>
            <a:endParaRPr lang="en-US" sz="1200" b="1" dirty="0" smtClean="0"/>
          </a:p>
          <a:p>
            <a:endParaRPr lang="en-US" sz="800" b="1" dirty="0" smtClean="0"/>
          </a:p>
          <a:p>
            <a:r>
              <a:rPr lang="en-US" sz="1200" b="1" dirty="0" smtClean="0">
                <a:solidFill>
                  <a:schemeClr val="tx1">
                    <a:lumMod val="50000"/>
                  </a:schemeClr>
                </a:solidFill>
              </a:rPr>
              <a:t>problem </a:t>
            </a:r>
            <a:r>
              <a:rPr lang="en-US" sz="1200" b="1" dirty="0">
                <a:solidFill>
                  <a:schemeClr val="tx1">
                    <a:lumMod val="50000"/>
                  </a:schemeClr>
                </a:solidFill>
              </a:rPr>
              <a:t>request</a:t>
            </a:r>
            <a:endParaRPr lang="de-DE" sz="1200" b="1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985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90" y="947280"/>
          <a:ext cx="1388" cy="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345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947280"/>
                        <a:ext cx="1388" cy="1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180" name="Picture 5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90" y="947281"/>
            <a:ext cx="2778" cy="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7</a:t>
            </a:fld>
            <a:endParaRPr lang="de-DE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169" y="0"/>
            <a:ext cx="10076456" cy="674914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8" tIns="45714" rIns="91428" bIns="45714" anchor="ctr"/>
          <a:lstStyle/>
          <a:p>
            <a:pPr algn="ctr" defTabSz="457142" fontAlgn="base"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FFFFFF"/>
              </a:solidFill>
              <a:cs typeface="Arial Unicode MS" pitchFamily="34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b="1" dirty="0" smtClean="0">
                <a:solidFill>
                  <a:schemeClr val="bg1"/>
                </a:solidFill>
              </a:rPr>
              <a:t>Operational Management</a:t>
            </a:r>
            <a:endParaRPr lang="ru-RU" sz="4000" b="1" dirty="0">
              <a:solidFill>
                <a:schemeClr val="bg1"/>
              </a:solidFill>
            </a:endParaRPr>
          </a:p>
        </p:txBody>
      </p:sp>
      <p:pic>
        <p:nvPicPr>
          <p:cNvPr id="702467" name="Picture 3" descr="C:\Users\kea1\Desktop\f3tiu4zw38165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1849" y="6980111"/>
            <a:ext cx="701041" cy="405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Inhaltsplatzhalter 6"/>
          <p:cNvSpPr txBox="1">
            <a:spLocks/>
          </p:cNvSpPr>
          <p:nvPr/>
        </p:nvSpPr>
        <p:spPr bwMode="gray">
          <a:xfrm>
            <a:off x="360000" y="831960"/>
            <a:ext cx="9360000" cy="537834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ClrTx/>
              <a:buFont typeface="+mj-lt"/>
              <a:buAutoNum type="arabicPeriod"/>
            </a:pPr>
            <a:r>
              <a:rPr lang="ru-RU" sz="2300" dirty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Внедрение </a:t>
            </a:r>
            <a:r>
              <a:rPr lang="en-US" sz="2300" dirty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Agile </a:t>
            </a:r>
            <a:r>
              <a:rPr lang="ru-RU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методик</a:t>
            </a:r>
            <a:r>
              <a:rPr lang="en-US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/>
            </a:r>
            <a:br>
              <a:rPr lang="en-US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</a:br>
            <a:r>
              <a:rPr lang="ru-RU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(</a:t>
            </a:r>
            <a:r>
              <a:rPr lang="en-US" sz="2300" dirty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Waterfall </a:t>
            </a:r>
            <a:r>
              <a:rPr lang="en-US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  <a:sym typeface="Wingdings" panose="05000000000000000000" pitchFamily="2" charset="2"/>
              </a:rPr>
              <a:t></a:t>
            </a:r>
            <a:r>
              <a:rPr lang="en-US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</a:t>
            </a:r>
            <a:r>
              <a:rPr lang="ru-RU" sz="2300" dirty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Итеративная модель </a:t>
            </a:r>
            <a:r>
              <a:rPr lang="en-US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  <a:sym typeface="Wingdings" panose="05000000000000000000" pitchFamily="2" charset="2"/>
              </a:rPr>
              <a:t></a:t>
            </a:r>
            <a:r>
              <a:rPr lang="ru-RU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</a:t>
            </a:r>
            <a:r>
              <a:rPr lang="en-US" sz="2300" dirty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Scrum – pilot project)</a:t>
            </a:r>
          </a:p>
          <a:p>
            <a:pPr marL="457200" indent="-457200">
              <a:buClrTx/>
              <a:buFont typeface="+mj-lt"/>
              <a:buAutoNum type="arabicPeriod"/>
            </a:pPr>
            <a:endParaRPr lang="ru-RU" sz="2300" dirty="0" smtClean="0">
              <a:solidFill>
                <a:schemeClr val="tx1">
                  <a:lumMod val="50000"/>
                </a:schemeClr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pPr marL="457200" indent="-457200">
              <a:buFont typeface="+mj-lt"/>
              <a:buAutoNum type="arabicPeriod"/>
            </a:pPr>
            <a:endParaRPr lang="ru-RU" sz="2300" dirty="0" smtClean="0">
              <a:solidFill>
                <a:schemeClr val="tx1">
                  <a:lumMod val="50000"/>
                </a:schemeClr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pPr marL="457200" indent="-457200">
              <a:buFont typeface="+mj-lt"/>
              <a:buAutoNum type="arabicPeriod"/>
            </a:pPr>
            <a:endParaRPr lang="ru-RU" sz="2300" dirty="0" smtClean="0">
              <a:solidFill>
                <a:schemeClr val="tx1">
                  <a:lumMod val="50000"/>
                </a:schemeClr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pPr marL="457200" indent="-457200">
              <a:buClrTx/>
              <a:buFont typeface="+mj-lt"/>
              <a:buAutoNum type="arabicPeriod"/>
            </a:pPr>
            <a:endParaRPr lang="de-DE" sz="2300" dirty="0" smtClean="0">
              <a:solidFill>
                <a:schemeClr val="tx1">
                  <a:lumMod val="50000"/>
                </a:schemeClr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pPr marL="457200" indent="-457200">
              <a:buClrTx/>
              <a:buFont typeface="+mj-lt"/>
              <a:buAutoNum type="arabicPeriod"/>
            </a:pPr>
            <a:endParaRPr lang="en-US" sz="2300" dirty="0" smtClean="0">
              <a:solidFill>
                <a:schemeClr val="tx1">
                  <a:lumMod val="50000"/>
                </a:schemeClr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pPr marL="457200" indent="-457200">
              <a:buClrTx/>
              <a:buFont typeface="+mj-lt"/>
              <a:buAutoNum type="arabicPeriod"/>
            </a:pPr>
            <a:r>
              <a:rPr lang="ru-RU" sz="2300" dirty="0" err="1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DevOps</a:t>
            </a:r>
            <a:r>
              <a:rPr lang="ru-RU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</a:t>
            </a:r>
            <a:r>
              <a:rPr lang="ru-RU" sz="2300" dirty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(анализ, внедрение отдельных элементов</a:t>
            </a:r>
            <a:r>
              <a:rPr lang="ru-RU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)</a:t>
            </a:r>
            <a:endParaRPr lang="en-US" sz="2300" dirty="0" smtClean="0">
              <a:solidFill>
                <a:schemeClr val="tx1">
                  <a:lumMod val="50000"/>
                </a:schemeClr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pPr marL="457200" indent="-457200">
              <a:buClrTx/>
              <a:buFont typeface="+mj-lt"/>
              <a:buAutoNum type="arabicPeriod"/>
            </a:pPr>
            <a:r>
              <a:rPr lang="ru-RU" sz="2300" dirty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Формирование базы знаний и системы </a:t>
            </a:r>
            <a:r>
              <a:rPr lang="ru-RU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обучения</a:t>
            </a:r>
            <a:r>
              <a:rPr lang="en-US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/>
            </a:r>
            <a:br>
              <a:rPr lang="en-US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</a:br>
            <a:r>
              <a:rPr lang="ru-RU" sz="2300" dirty="0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(ISTQB-</a:t>
            </a:r>
            <a:r>
              <a:rPr lang="de-DE" sz="2300" dirty="0" err="1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C</a:t>
            </a:r>
            <a:r>
              <a:rPr lang="ru-RU" sz="2300" dirty="0" err="1" smtClean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ertification</a:t>
            </a:r>
            <a:r>
              <a:rPr lang="ru-RU" sz="2300" dirty="0">
                <a:solidFill>
                  <a:schemeClr val="tx1">
                    <a:lumMod val="50000"/>
                  </a:schemeClr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, база знаний в WIKI)</a:t>
            </a:r>
          </a:p>
          <a:p>
            <a:pPr>
              <a:buClrTx/>
            </a:pPr>
            <a:endParaRPr lang="ru-RU" sz="2300" dirty="0">
              <a:solidFill>
                <a:schemeClr val="tx1">
                  <a:lumMod val="50000"/>
                </a:schemeClr>
              </a:solidFill>
              <a:latin typeface="Tele-GroteskNor" pitchFamily="2" charset="0"/>
              <a:ea typeface="Tele-GroteskNor" pitchFamily="2" charset="0"/>
              <a:cs typeface="Tele-GroteskNor" pitchFamily="2" charset="0"/>
              <a:sym typeface="Wingdings" panose="05000000000000000000" pitchFamily="2" charset="2"/>
            </a:endParaRPr>
          </a:p>
        </p:txBody>
      </p:sp>
      <p:pic>
        <p:nvPicPr>
          <p:cNvPr id="13" name="Grafik 12"/>
          <p:cNvPicPr/>
          <p:nvPr/>
        </p:nvPicPr>
        <p:blipFill>
          <a:blip r:embed="rId9"/>
          <a:stretch>
            <a:fillRect/>
          </a:stretch>
        </p:blipFill>
        <p:spPr>
          <a:xfrm>
            <a:off x="1135061" y="2132689"/>
            <a:ext cx="2970213" cy="1680683"/>
          </a:xfrm>
          <a:prstGeom prst="rect">
            <a:avLst/>
          </a:prstGeom>
        </p:spPr>
      </p:pic>
      <p:pic>
        <p:nvPicPr>
          <p:cNvPr id="15" name="Picture 2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0125" y="1689297"/>
            <a:ext cx="4185773" cy="212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02604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90" y="947280"/>
          <a:ext cx="1388" cy="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4400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947280"/>
                        <a:ext cx="1388" cy="1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180" name="Picture 5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90" y="947281"/>
            <a:ext cx="2778" cy="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8</a:t>
            </a:fld>
            <a:endParaRPr lang="de-DE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169" y="0"/>
            <a:ext cx="10076456" cy="674914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8" tIns="45714" rIns="91428" bIns="45714" anchor="ctr"/>
          <a:lstStyle/>
          <a:p>
            <a:pPr algn="ctr" defTabSz="457142" fontAlgn="base"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FFFFFF"/>
              </a:solidFill>
              <a:cs typeface="Arial Unicode MS" pitchFamily="34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b="1" dirty="0" smtClean="0">
                <a:solidFill>
                  <a:schemeClr val="bg1"/>
                </a:solidFill>
              </a:rPr>
              <a:t>Operational Management</a:t>
            </a:r>
            <a:endParaRPr lang="ru-RU" sz="4000" b="1" dirty="0">
              <a:solidFill>
                <a:schemeClr val="bg1"/>
              </a:solidFill>
            </a:endParaRPr>
          </a:p>
        </p:txBody>
      </p:sp>
      <p:pic>
        <p:nvPicPr>
          <p:cNvPr id="702467" name="Picture 3" descr="C:\Users\kea1\Desktop\f3tiu4zw38165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1849" y="6980111"/>
            <a:ext cx="701041" cy="405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5550" name="Picture 14" descr="https://cdn-images-1.medium.com/max/1200/1*7MUuzdmwKGTanzBYbqpN7Q.jpe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286" y="4303307"/>
            <a:ext cx="3699997" cy="1958291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5552" name="Picture 16" descr="https://pp.userapi.com/c638916/v638916416/36065/vGvSSs9q_50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3820" y="4303307"/>
            <a:ext cx="3743346" cy="1941862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4936389" y="1356756"/>
            <a:ext cx="4576499" cy="707886"/>
          </a:xfrm>
          <a:prstGeom prst="rect">
            <a:avLst/>
          </a:prstGeom>
          <a:noFill/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square">
            <a:spAutoFit/>
          </a:bodyPr>
          <a:lstStyle/>
          <a:p>
            <a:pPr marL="361950"/>
            <a:r>
              <a:rPr lang="ru-RU" sz="2000" dirty="0" smtClean="0"/>
              <a:t>дальнейше</a:t>
            </a:r>
            <a:r>
              <a:rPr lang="ru-RU" sz="2000" dirty="0"/>
              <a:t>е</a:t>
            </a:r>
            <a:r>
              <a:rPr lang="ru-RU" sz="2000" dirty="0" smtClean="0"/>
              <a:t> планирование задач, загрузки, прогноз рисков</a:t>
            </a:r>
            <a:endParaRPr lang="ru-RU" sz="2000" dirty="0"/>
          </a:p>
        </p:txBody>
      </p:sp>
      <p:sp>
        <p:nvSpPr>
          <p:cNvPr id="13" name="Freeform 71"/>
          <p:cNvSpPr>
            <a:spLocks/>
          </p:cNvSpPr>
          <p:nvPr/>
        </p:nvSpPr>
        <p:spPr bwMode="auto">
          <a:xfrm>
            <a:off x="4505325" y="1555143"/>
            <a:ext cx="631823" cy="311113"/>
          </a:xfrm>
          <a:custGeom>
            <a:avLst/>
            <a:gdLst>
              <a:gd name="T0" fmla="*/ 560 w 747"/>
              <a:gd name="T1" fmla="*/ 0 h 374"/>
              <a:gd name="T2" fmla="*/ 560 w 747"/>
              <a:gd name="T3" fmla="*/ 134 h 374"/>
              <a:gd name="T4" fmla="*/ 54 w 747"/>
              <a:gd name="T5" fmla="*/ 134 h 374"/>
              <a:gd name="T6" fmla="*/ 0 w 747"/>
              <a:gd name="T7" fmla="*/ 187 h 374"/>
              <a:gd name="T8" fmla="*/ 54 w 747"/>
              <a:gd name="T9" fmla="*/ 240 h 374"/>
              <a:gd name="T10" fmla="*/ 560 w 747"/>
              <a:gd name="T11" fmla="*/ 240 h 374"/>
              <a:gd name="T12" fmla="*/ 560 w 747"/>
              <a:gd name="T13" fmla="*/ 374 h 374"/>
              <a:gd name="T14" fmla="*/ 747 w 747"/>
              <a:gd name="T15" fmla="*/ 187 h 374"/>
              <a:gd name="T16" fmla="*/ 560 w 747"/>
              <a:gd name="T17" fmla="*/ 0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47" h="374">
                <a:moveTo>
                  <a:pt x="560" y="0"/>
                </a:moveTo>
                <a:cubicBezTo>
                  <a:pt x="560" y="134"/>
                  <a:pt x="560" y="134"/>
                  <a:pt x="560" y="134"/>
                </a:cubicBezTo>
                <a:cubicBezTo>
                  <a:pt x="54" y="134"/>
                  <a:pt x="54" y="134"/>
                  <a:pt x="54" y="134"/>
                </a:cubicBezTo>
                <a:cubicBezTo>
                  <a:pt x="24" y="134"/>
                  <a:pt x="0" y="158"/>
                  <a:pt x="0" y="187"/>
                </a:cubicBezTo>
                <a:cubicBezTo>
                  <a:pt x="0" y="216"/>
                  <a:pt x="24" y="240"/>
                  <a:pt x="54" y="240"/>
                </a:cubicBezTo>
                <a:cubicBezTo>
                  <a:pt x="560" y="240"/>
                  <a:pt x="560" y="240"/>
                  <a:pt x="560" y="240"/>
                </a:cubicBezTo>
                <a:cubicBezTo>
                  <a:pt x="560" y="374"/>
                  <a:pt x="560" y="374"/>
                  <a:pt x="560" y="374"/>
                </a:cubicBezTo>
                <a:cubicBezTo>
                  <a:pt x="747" y="187"/>
                  <a:pt x="747" y="187"/>
                  <a:pt x="747" y="187"/>
                </a:cubicBezTo>
                <a:cubicBezTo>
                  <a:pt x="560" y="0"/>
                  <a:pt x="560" y="0"/>
                  <a:pt x="560" y="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0001" tIns="40000" rIns="80001" bIns="40000" numCol="1" anchor="t" anchorCtr="0" compatLnSpc="1">
            <a:prstTxWarp prst="textNoShape">
              <a:avLst/>
            </a:prstTxWarp>
          </a:bodyPr>
          <a:lstStyle/>
          <a:p>
            <a:endParaRPr lang="en-US" sz="1200" b="1" dirty="0" smtClean="0"/>
          </a:p>
          <a:p>
            <a:endParaRPr lang="en-US" sz="800" b="1" dirty="0" smtClean="0"/>
          </a:p>
          <a:p>
            <a:endParaRPr lang="de-DE" sz="12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5" name="Inhaltsplatzhalter 6"/>
          <p:cNvSpPr txBox="1">
            <a:spLocks/>
          </p:cNvSpPr>
          <p:nvPr/>
        </p:nvSpPr>
        <p:spPr bwMode="gray">
          <a:xfrm>
            <a:off x="360000" y="831960"/>
            <a:ext cx="9360000" cy="306694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0" indent="-45720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 startAt="4"/>
            </a:pPr>
            <a:r>
              <a:rPr lang="ru-RU" sz="2300" dirty="0">
                <a:latin typeface="Tele-GroteskNor"/>
              </a:rPr>
              <a:t>Сбор статистики</a:t>
            </a:r>
            <a:endParaRPr lang="en-US" sz="2300" dirty="0">
              <a:latin typeface="Tele-GroteskNor"/>
            </a:endParaRPr>
          </a:p>
          <a:p>
            <a:pPr marL="542925" lvl="0" indent="-180975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ru-RU" sz="2300" dirty="0">
                <a:latin typeface="Tele-GroteskNor"/>
              </a:rPr>
              <a:t>список задач </a:t>
            </a:r>
            <a:endParaRPr lang="en-US" sz="2300" dirty="0">
              <a:latin typeface="Tele-GroteskNor"/>
            </a:endParaRPr>
          </a:p>
          <a:p>
            <a:pPr marL="542925" lvl="0" indent="-180975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ru-RU" sz="2300" dirty="0">
                <a:latin typeface="Tele-GroteskNor"/>
              </a:rPr>
              <a:t>примерное время выполнения </a:t>
            </a:r>
            <a:endParaRPr lang="en-US" sz="2300" dirty="0">
              <a:latin typeface="Tele-GroteskNor"/>
            </a:endParaRPr>
          </a:p>
          <a:p>
            <a:pPr marL="361950" lvl="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</a:pPr>
            <a:endParaRPr lang="en-US" sz="2300" dirty="0">
              <a:latin typeface="Tele-GroteskNor"/>
            </a:endParaRPr>
          </a:p>
          <a:p>
            <a:pPr marL="457200" lvl="0" indent="-45720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 startAt="5"/>
            </a:pPr>
            <a:r>
              <a:rPr lang="ru-RU" sz="2300" dirty="0">
                <a:latin typeface="Tele-GroteskNor"/>
              </a:rPr>
              <a:t>Балансировка нагрузки команды </a:t>
            </a:r>
          </a:p>
          <a:p>
            <a:pPr marL="542925" lvl="0" indent="-180975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ru-RU" sz="2300" dirty="0" smtClean="0">
                <a:latin typeface="Tele-GroteskNor"/>
              </a:rPr>
              <a:t>оптимизаци</a:t>
            </a:r>
            <a:r>
              <a:rPr lang="ru-RU" sz="2300" dirty="0">
                <a:latin typeface="Tele-GroteskNor"/>
              </a:rPr>
              <a:t>я</a:t>
            </a:r>
            <a:r>
              <a:rPr lang="ru-RU" sz="2300" dirty="0" smtClean="0">
                <a:latin typeface="Tele-GroteskNor"/>
              </a:rPr>
              <a:t> </a:t>
            </a:r>
            <a:r>
              <a:rPr lang="ru-RU" sz="2300" dirty="0" err="1">
                <a:latin typeface="Tele-GroteskNor"/>
              </a:rPr>
              <a:t>внутрипроектных</a:t>
            </a:r>
            <a:r>
              <a:rPr lang="ru-RU" sz="2300" dirty="0">
                <a:latin typeface="Tele-GroteskNor"/>
              </a:rPr>
              <a:t> процессов  </a:t>
            </a:r>
          </a:p>
          <a:p>
            <a:pPr marL="542925" lvl="0" indent="-180975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ru-RU" sz="2300" dirty="0">
                <a:latin typeface="Tele-GroteskNor"/>
              </a:rPr>
              <a:t>отказ от частых систематических </a:t>
            </a:r>
            <a:r>
              <a:rPr lang="ru-RU" sz="2300" dirty="0" smtClean="0">
                <a:latin typeface="Tele-GroteskNor"/>
              </a:rPr>
              <a:t>переработок </a:t>
            </a:r>
            <a:endParaRPr lang="ru-RU" sz="2300" dirty="0">
              <a:latin typeface="Tele-GroteskNor"/>
            </a:endParaRPr>
          </a:p>
          <a:p>
            <a:pPr marL="542925" lvl="0" indent="-180975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ru-RU" sz="2300" dirty="0">
                <a:latin typeface="Tele-GroteskNor"/>
              </a:rPr>
              <a:t>отказ </a:t>
            </a:r>
            <a:r>
              <a:rPr lang="ru-RU" sz="2300" dirty="0" smtClean="0">
                <a:latin typeface="Tele-GroteskNor"/>
              </a:rPr>
              <a:t>от излишней </a:t>
            </a:r>
            <a:r>
              <a:rPr lang="ru-RU" sz="2300" dirty="0">
                <a:latin typeface="Tele-GroteskNor"/>
              </a:rPr>
              <a:t>перегруженности команды</a:t>
            </a:r>
            <a:endParaRPr lang="ru-RU" sz="2300" dirty="0">
              <a:solidFill>
                <a:schemeClr val="tx1">
                  <a:lumMod val="50000"/>
                </a:schemeClr>
              </a:solidFill>
              <a:latin typeface="Tele-GroteskNor" pitchFamily="2" charset="0"/>
              <a:ea typeface="Tele-GroteskNor" pitchFamily="2" charset="0"/>
              <a:cs typeface="Tele-GroteskNor" pitchFamily="2" charset="0"/>
              <a:sym typeface="Wingdings" panose="05000000000000000000" pitchFamily="2" charset="2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5270500" y="1155212"/>
            <a:ext cx="4242388" cy="800219"/>
          </a:xfrm>
          <a:prstGeom prst="rect">
            <a:avLst/>
          </a:prstGeom>
          <a:noFill/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square">
            <a:spAutoFit/>
          </a:bodyPr>
          <a:lstStyle/>
          <a:p>
            <a:pPr marL="177800"/>
            <a:r>
              <a:rPr lang="ru-RU" dirty="0" smtClean="0"/>
              <a:t>дальнейше</a:t>
            </a:r>
            <a:r>
              <a:rPr lang="ru-RU" dirty="0"/>
              <a:t>е</a:t>
            </a:r>
            <a:r>
              <a:rPr lang="ru-RU" dirty="0" smtClean="0"/>
              <a:t> планирование задач, загрузки, прогноз рисков</a:t>
            </a:r>
            <a:endParaRPr lang="ru-RU" dirty="0"/>
          </a:p>
        </p:txBody>
      </p:sp>
      <p:sp>
        <p:nvSpPr>
          <p:cNvPr id="17" name="Freeform 71"/>
          <p:cNvSpPr>
            <a:spLocks/>
          </p:cNvSpPr>
          <p:nvPr/>
        </p:nvSpPr>
        <p:spPr bwMode="auto">
          <a:xfrm>
            <a:off x="4638677" y="1353599"/>
            <a:ext cx="631823" cy="311113"/>
          </a:xfrm>
          <a:custGeom>
            <a:avLst/>
            <a:gdLst>
              <a:gd name="T0" fmla="*/ 560 w 747"/>
              <a:gd name="T1" fmla="*/ 0 h 374"/>
              <a:gd name="T2" fmla="*/ 560 w 747"/>
              <a:gd name="T3" fmla="*/ 134 h 374"/>
              <a:gd name="T4" fmla="*/ 54 w 747"/>
              <a:gd name="T5" fmla="*/ 134 h 374"/>
              <a:gd name="T6" fmla="*/ 0 w 747"/>
              <a:gd name="T7" fmla="*/ 187 h 374"/>
              <a:gd name="T8" fmla="*/ 54 w 747"/>
              <a:gd name="T9" fmla="*/ 240 h 374"/>
              <a:gd name="T10" fmla="*/ 560 w 747"/>
              <a:gd name="T11" fmla="*/ 240 h 374"/>
              <a:gd name="T12" fmla="*/ 560 w 747"/>
              <a:gd name="T13" fmla="*/ 374 h 374"/>
              <a:gd name="T14" fmla="*/ 747 w 747"/>
              <a:gd name="T15" fmla="*/ 187 h 374"/>
              <a:gd name="T16" fmla="*/ 560 w 747"/>
              <a:gd name="T17" fmla="*/ 0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47" h="374">
                <a:moveTo>
                  <a:pt x="560" y="0"/>
                </a:moveTo>
                <a:cubicBezTo>
                  <a:pt x="560" y="134"/>
                  <a:pt x="560" y="134"/>
                  <a:pt x="560" y="134"/>
                </a:cubicBezTo>
                <a:cubicBezTo>
                  <a:pt x="54" y="134"/>
                  <a:pt x="54" y="134"/>
                  <a:pt x="54" y="134"/>
                </a:cubicBezTo>
                <a:cubicBezTo>
                  <a:pt x="24" y="134"/>
                  <a:pt x="0" y="158"/>
                  <a:pt x="0" y="187"/>
                </a:cubicBezTo>
                <a:cubicBezTo>
                  <a:pt x="0" y="216"/>
                  <a:pt x="24" y="240"/>
                  <a:pt x="54" y="240"/>
                </a:cubicBezTo>
                <a:cubicBezTo>
                  <a:pt x="560" y="240"/>
                  <a:pt x="560" y="240"/>
                  <a:pt x="560" y="240"/>
                </a:cubicBezTo>
                <a:cubicBezTo>
                  <a:pt x="560" y="374"/>
                  <a:pt x="560" y="374"/>
                  <a:pt x="560" y="374"/>
                </a:cubicBezTo>
                <a:cubicBezTo>
                  <a:pt x="747" y="187"/>
                  <a:pt x="747" y="187"/>
                  <a:pt x="747" y="187"/>
                </a:cubicBezTo>
                <a:cubicBezTo>
                  <a:pt x="560" y="0"/>
                  <a:pt x="560" y="0"/>
                  <a:pt x="560" y="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0001" tIns="40000" rIns="80001" bIns="40000" numCol="1" anchor="t" anchorCtr="0" compatLnSpc="1">
            <a:prstTxWarp prst="textNoShape">
              <a:avLst/>
            </a:prstTxWarp>
          </a:bodyPr>
          <a:lstStyle/>
          <a:p>
            <a:endParaRPr lang="en-US" sz="1200" b="1" dirty="0" smtClean="0"/>
          </a:p>
          <a:p>
            <a:endParaRPr lang="en-US" sz="800" b="1" dirty="0" smtClean="0"/>
          </a:p>
          <a:p>
            <a:endParaRPr lang="de-DE" sz="1200" b="1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693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90" y="947280"/>
          <a:ext cx="1388" cy="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886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947280"/>
                        <a:ext cx="1388" cy="1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180" name="Picture 5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90" y="947281"/>
            <a:ext cx="2778" cy="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9</a:t>
            </a:fld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169" y="0"/>
            <a:ext cx="10076456" cy="674914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8" tIns="45714" rIns="91428" bIns="45714" anchor="ctr"/>
          <a:lstStyle/>
          <a:p>
            <a:pPr algn="ctr" defTabSz="457142" fontAlgn="base"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FFFFFF"/>
              </a:solidFill>
              <a:cs typeface="Arial Unicode MS" pitchFamily="34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b="1" dirty="0" smtClean="0">
                <a:solidFill>
                  <a:schemeClr val="bg1"/>
                </a:solidFill>
              </a:rPr>
              <a:t>People</a:t>
            </a:r>
            <a:r>
              <a:rPr lang="en-US" sz="4000" b="1" dirty="0" smtClean="0">
                <a:solidFill>
                  <a:schemeClr val="bg1"/>
                </a:solidFill>
              </a:rPr>
              <a:t> Management</a:t>
            </a:r>
            <a:endParaRPr lang="ru-RU" sz="4000" b="1" dirty="0">
              <a:solidFill>
                <a:schemeClr val="bg1"/>
              </a:solidFill>
            </a:endParaRPr>
          </a:p>
        </p:txBody>
      </p:sp>
      <p:pic>
        <p:nvPicPr>
          <p:cNvPr id="702467" name="Picture 3" descr="C:\Users\kea1\Desktop\f3tiu4zw38165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1849" y="6980111"/>
            <a:ext cx="701041" cy="405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9817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000" y="2909129"/>
            <a:ext cx="5599738" cy="32481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9819" name="Picture 1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78" y="2909129"/>
            <a:ext cx="3319122" cy="3253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Inhaltsplatzhalter 6"/>
          <p:cNvSpPr txBox="1">
            <a:spLocks/>
          </p:cNvSpPr>
          <p:nvPr/>
        </p:nvSpPr>
        <p:spPr bwMode="gray">
          <a:xfrm>
            <a:off x="360000" y="882123"/>
            <a:ext cx="9360000" cy="18596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</a:pPr>
            <a:r>
              <a:rPr lang="ru-RU" sz="2300" b="1" dirty="0">
                <a:latin typeface="Tele-GroteskNor"/>
              </a:rPr>
              <a:t>Склонности личности (психологические особенности, мотивирующие факторы)</a:t>
            </a:r>
          </a:p>
          <a:p>
            <a:pPr marL="457200" indent="-45720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AutoNum type="arabicPeriod"/>
            </a:pPr>
            <a:r>
              <a:rPr lang="ru-RU" sz="2300" dirty="0">
                <a:latin typeface="Tele-GroteskNor"/>
              </a:rPr>
              <a:t>Тест на определение типа личности DISC</a:t>
            </a:r>
          </a:p>
          <a:p>
            <a:pPr marL="457200" lvl="0" indent="-45720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AutoNum type="arabicPeriod"/>
            </a:pPr>
            <a:endParaRPr lang="ru-RU" sz="2300" dirty="0">
              <a:latin typeface="Tele-GroteskNor"/>
            </a:endParaRPr>
          </a:p>
          <a:p>
            <a:pPr marL="457200" lvl="0" indent="-457200" defTabSz="11521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AutoNum type="arabicPeriod"/>
            </a:pPr>
            <a:r>
              <a:rPr lang="de-DE" sz="2300" dirty="0">
                <a:latin typeface="Tele-GroteskNor"/>
              </a:rPr>
              <a:t>PAEI-</a:t>
            </a:r>
            <a:r>
              <a:rPr lang="ru-RU" sz="2300" dirty="0">
                <a:latin typeface="Tele-GroteskNor"/>
              </a:rPr>
              <a:t>тест на определение стиля </a:t>
            </a:r>
            <a:r>
              <a:rPr lang="ru-RU" sz="2300" dirty="0" smtClean="0">
                <a:latin typeface="Tele-GroteskNor"/>
              </a:rPr>
              <a:t>менеджмента</a:t>
            </a:r>
            <a:endParaRPr lang="en-US" sz="2300" dirty="0">
              <a:latin typeface="Tele-GroteskNor"/>
            </a:endParaRPr>
          </a:p>
        </p:txBody>
      </p:sp>
    </p:spTree>
    <p:extLst>
      <p:ext uri="{BB962C8B-B14F-4D97-AF65-F5344CB8AC3E}">
        <p14:creationId xmlns:p14="http://schemas.microsoft.com/office/powerpoint/2010/main" val="2459765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PowerPoint Master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ts val="300"/>
          </a:spcBef>
          <a:spcAft>
            <a:spcPct val="0"/>
          </a:spcAft>
          <a:buClr>
            <a:schemeClr val="tx1"/>
          </a:buClr>
          <a:buSzPct val="70000"/>
          <a:defRPr sz="1800" dirty="0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T_MASTER_4-3_EN_20150916" id="{A7A1B6D4-EF23-47E1-8DBF-D4889BDF75F5}" vid="{BD11E8BC-A3CB-4BDE-9CB7-9DAEC89B3BFF}"/>
    </a:ext>
  </a:extLst>
</a:theme>
</file>

<file path=ppt/theme/theme2.xml><?xml version="1.0" encoding="utf-8"?>
<a:theme xmlns:a="http://schemas.openxmlformats.org/drawingml/2006/main" name="2_Telekom PowerPoint Master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ts val="300"/>
          </a:spcBef>
          <a:spcAft>
            <a:spcPct val="0"/>
          </a:spcAft>
          <a:buClr>
            <a:schemeClr val="tx1"/>
          </a:buClr>
          <a:buSzPct val="70000"/>
          <a:defRPr sz="1800" dirty="0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T_MASTER_4-3_EN_20150916" id="{A7A1B6D4-EF23-47E1-8DBF-D4889BDF75F5}" vid="{BD11E8BC-A3CB-4BDE-9CB7-9DAEC89B3BFF}"/>
    </a:ext>
  </a:extLst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lekom PowerPoint Master</Template>
  <TotalTime>0</TotalTime>
  <Words>1582</Words>
  <Application>Microsoft Office PowerPoint</Application>
  <PresentationFormat>Benutzerdefiniert</PresentationFormat>
  <Paragraphs>242</Paragraphs>
  <Slides>15</Slides>
  <Notes>15</Notes>
  <HiddenSlides>0</HiddenSlides>
  <MMClips>0</MMClips>
  <ScaleCrop>false</ScaleCrop>
  <HeadingPairs>
    <vt:vector size="6" baseType="variant"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18" baseType="lpstr">
      <vt:lpstr>Telekom PowerPoint Master</vt:lpstr>
      <vt:lpstr>2_Telekom PowerPoint Master</vt:lpstr>
      <vt:lpstr>think-cell Folie</vt:lpstr>
      <vt:lpstr> </vt:lpstr>
      <vt:lpstr>Testteam</vt:lpstr>
      <vt:lpstr>Статика  Хаос</vt:lpstr>
      <vt:lpstr>Хаос  Динамика</vt:lpstr>
      <vt:lpstr>Technical Tools</vt:lpstr>
      <vt:lpstr>Technical Tools</vt:lpstr>
      <vt:lpstr>Operational Management</vt:lpstr>
      <vt:lpstr>Operational Management</vt:lpstr>
      <vt:lpstr>People Management</vt:lpstr>
      <vt:lpstr>People Management</vt:lpstr>
      <vt:lpstr>People Management</vt:lpstr>
      <vt:lpstr>People Management</vt:lpstr>
      <vt:lpstr>Reliable Easy Versatile techniques</vt:lpstr>
      <vt:lpstr>IT’S QUESTION TIME</vt:lpstr>
      <vt:lpstr>THANK YO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8-04-11T10:56:53Z</dcterms:created>
  <dcterms:modified xsi:type="dcterms:W3CDTF">2018-11-21T20:07:39Z</dcterms:modified>
</cp:coreProperties>
</file>